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style1.xml" ContentType="application/vnd.ms-office.chartstyl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67.xml" ContentType="application/vnd.openxmlformats-officedocument.presentationml.tags+xml"/>
  <Override PartName="/ppt/tags/tag104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.xml" ContentType="application/vnd.openxmlformats-officedocument.presentationml.tags+xml"/>
  <Override PartName="/ppt/tags/tag147.xml" ContentType="application/vnd.openxmlformats-officedocument.presentationml.tags+xml"/>
  <Override PartName="/ppt/tags/tag15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16.xml" ContentType="application/vnd.openxmlformats-officedocument.presentationml.tags+xml"/>
  <Override PartName="/ppt/tags/tag144.xml" ContentType="application/vnd.openxmlformats-officedocument.presentationml.tags+xml"/>
  <Override PartName="/ppt/tags/tag17.xml" ContentType="application/vnd.openxmlformats-officedocument.presentationml.tags+xml"/>
  <Override PartName="/ppt/tags/tag143.xml" ContentType="application/vnd.openxmlformats-officedocument.presentationml.tags+xml"/>
  <Override PartName="/ppt/tags/tag18.xml" ContentType="application/vnd.openxmlformats-officedocument.presentationml.tags+xml"/>
  <Override PartName="/ppt/tags/tag142.xml" ContentType="application/vnd.openxmlformats-officedocument.presentationml.tags+xml"/>
  <Override PartName="/ppt/tags/tag141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2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153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56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165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16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760" r:id="rId2"/>
    <p:sldMasterId id="2147483800" r:id="rId3"/>
    <p:sldMasterId id="2147483874" r:id="rId4"/>
    <p:sldMasterId id="2147483949" r:id="rId5"/>
  </p:sldMasterIdLst>
  <p:notesMasterIdLst>
    <p:notesMasterId r:id="rId23"/>
  </p:notesMasterIdLst>
  <p:handoutMasterIdLst>
    <p:handoutMasterId r:id="rId24"/>
  </p:handoutMasterIdLst>
  <p:sldIdLst>
    <p:sldId id="297" r:id="rId6"/>
    <p:sldId id="2037" r:id="rId7"/>
    <p:sldId id="2032" r:id="rId8"/>
    <p:sldId id="2033" r:id="rId9"/>
    <p:sldId id="572" r:id="rId10"/>
    <p:sldId id="662" r:id="rId11"/>
    <p:sldId id="663" r:id="rId12"/>
    <p:sldId id="665" r:id="rId13"/>
    <p:sldId id="1933" r:id="rId14"/>
    <p:sldId id="2060" r:id="rId15"/>
    <p:sldId id="2059" r:id="rId16"/>
    <p:sldId id="1934" r:id="rId17"/>
    <p:sldId id="298" r:id="rId18"/>
    <p:sldId id="2031" r:id="rId19"/>
    <p:sldId id="2028" r:id="rId20"/>
    <p:sldId id="2036" r:id="rId21"/>
    <p:sldId id="946" r:id="rId22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A30046"/>
    <a:srgbClr val="F236CE"/>
    <a:srgbClr val="000099"/>
    <a:srgbClr val="627070"/>
    <a:srgbClr val="D0D0D0"/>
    <a:srgbClr val="E9E9E9"/>
    <a:srgbClr val="4C4C4C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84416" autoAdjust="0"/>
  </p:normalViewPr>
  <p:slideViewPr>
    <p:cSldViewPr snapToGrid="0" showGuides="1">
      <p:cViewPr varScale="1">
        <p:scale>
          <a:sx n="110" d="100"/>
          <a:sy n="110" d="100"/>
        </p:scale>
        <p:origin x="43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89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handoutMaster" Target="handoutMasters/handoutMaster1.xml"/><Relationship Id="rId32" Type="http://schemas.openxmlformats.org/officeDocument/2006/relationships/customXml" Target="../customXml/item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urop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Sheet1!$A$2:$A$8</c:f>
              <c:numCache>
                <c:formatCode>General</c:formatCode>
                <c:ptCount val="7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30</c:v>
                </c:pt>
                <c:pt idx="5">
                  <c:v>2040</c:v>
                </c:pt>
                <c:pt idx="6">
                  <c:v>2050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222</c:v>
                </c:pt>
                <c:pt idx="1">
                  <c:v>227</c:v>
                </c:pt>
                <c:pt idx="2">
                  <c:v>185</c:v>
                </c:pt>
                <c:pt idx="3">
                  <c:v>180</c:v>
                </c:pt>
                <c:pt idx="4">
                  <c:v>180</c:v>
                </c:pt>
                <c:pt idx="5">
                  <c:v>180</c:v>
                </c:pt>
                <c:pt idx="6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34-4514-B3A6-0455880381A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Kin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Sheet1!$A$2:$A$8</c:f>
              <c:numCache>
                <c:formatCode>General</c:formatCode>
                <c:ptCount val="7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30</c:v>
                </c:pt>
                <c:pt idx="5">
                  <c:v>2040</c:v>
                </c:pt>
                <c:pt idx="6">
                  <c:v>2050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500</c:v>
                </c:pt>
                <c:pt idx="1">
                  <c:v>800</c:v>
                </c:pt>
                <c:pt idx="2">
                  <c:v>1900</c:v>
                </c:pt>
                <c:pt idx="3">
                  <c:v>2200</c:v>
                </c:pt>
                <c:pt idx="4">
                  <c:v>1800</c:v>
                </c:pt>
                <c:pt idx="5">
                  <c:v>1600</c:v>
                </c:pt>
                <c:pt idx="6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34-4514-B3A6-0455880381A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dien</c:v>
                </c:pt>
              </c:strCache>
            </c:strRef>
          </c:tx>
          <c:spPr>
            <a:solidFill>
              <a:schemeClr val="accent3"/>
            </a:solidFill>
            <a:ln w="25400">
              <a:noFill/>
            </a:ln>
            <a:effectLst/>
          </c:spPr>
          <c:cat>
            <c:numRef>
              <c:f>Sheet1!$A$2:$A$8</c:f>
              <c:numCache>
                <c:formatCode>General</c:formatCode>
                <c:ptCount val="7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30</c:v>
                </c:pt>
                <c:pt idx="5">
                  <c:v>2040</c:v>
                </c:pt>
                <c:pt idx="6">
                  <c:v>2050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50</c:v>
                </c:pt>
                <c:pt idx="1">
                  <c:v>75</c:v>
                </c:pt>
                <c:pt idx="2">
                  <c:v>100</c:v>
                </c:pt>
                <c:pt idx="3">
                  <c:v>350</c:v>
                </c:pt>
                <c:pt idx="4">
                  <c:v>500</c:v>
                </c:pt>
                <c:pt idx="5">
                  <c:v>800</c:v>
                </c:pt>
                <c:pt idx="6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B34-4514-B3A6-0455880381A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ndre</c:v>
                </c:pt>
              </c:strCache>
            </c:strRef>
          </c:tx>
          <c:spPr>
            <a:solidFill>
              <a:schemeClr val="accent4"/>
            </a:solidFill>
            <a:ln w="25400">
              <a:noFill/>
            </a:ln>
            <a:effectLst/>
          </c:spPr>
          <c:cat>
            <c:numRef>
              <c:f>Sheet1!$A$2:$A$8</c:f>
              <c:numCache>
                <c:formatCode>General</c:formatCode>
                <c:ptCount val="7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30</c:v>
                </c:pt>
                <c:pt idx="5">
                  <c:v>2040</c:v>
                </c:pt>
                <c:pt idx="6">
                  <c:v>2050</c:v>
                </c:pt>
              </c:numCache>
            </c:numRef>
          </c:cat>
          <c:val>
            <c:numRef>
              <c:f>Sheet1!$E$2:$E$8</c:f>
              <c:numCache>
                <c:formatCode>General</c:formatCode>
                <c:ptCount val="7"/>
                <c:pt idx="0">
                  <c:v>428</c:v>
                </c:pt>
                <c:pt idx="1">
                  <c:v>500</c:v>
                </c:pt>
                <c:pt idx="2">
                  <c:v>1215</c:v>
                </c:pt>
                <c:pt idx="3">
                  <c:v>1470</c:v>
                </c:pt>
                <c:pt idx="4">
                  <c:v>1870</c:v>
                </c:pt>
                <c:pt idx="5">
                  <c:v>1920</c:v>
                </c:pt>
                <c:pt idx="6">
                  <c:v>21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B34-4514-B3A6-0455880381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4028152"/>
        <c:axId val="274028480"/>
      </c:areaChart>
      <c:catAx>
        <c:axId val="274028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4028480"/>
        <c:crosses val="autoZero"/>
        <c:auto val="1"/>
        <c:lblAlgn val="ctr"/>
        <c:lblOffset val="100"/>
        <c:noMultiLvlLbl val="0"/>
      </c:catAx>
      <c:valAx>
        <c:axId val="274028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a-DK" sz="1600" dirty="0"/>
                  <a:t>Millioner</a:t>
                </a:r>
                <a:r>
                  <a:rPr lang="da-DK" sz="1600" baseline="0" dirty="0"/>
                  <a:t> tons cement</a:t>
                </a:r>
                <a:endParaRPr lang="en-GB" sz="16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402815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lcinering</c:v>
                </c:pt>
              </c:strCache>
            </c:strRef>
          </c:tx>
          <c:spPr>
            <a:solidFill>
              <a:srgbClr val="99CCFF"/>
            </a:solidFill>
            <a:ln>
              <a:noFill/>
            </a:ln>
            <a:effectLst/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5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67-4FEC-8C0C-96C642AB1C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ændsel</c:v>
                </c:pt>
              </c:strCache>
            </c:strRef>
          </c:tx>
          <c:spPr>
            <a:solidFill>
              <a:srgbClr val="FF9966"/>
            </a:solidFill>
            <a:ln>
              <a:noFill/>
            </a:ln>
            <a:effectLst/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4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67-4FEC-8C0C-96C642AB1C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532086872"/>
        <c:axId val="532087528"/>
      </c:barChart>
      <c:catAx>
        <c:axId val="532086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32087528"/>
        <c:crosses val="autoZero"/>
        <c:auto val="1"/>
        <c:lblAlgn val="ctr"/>
        <c:lblOffset val="100"/>
        <c:noMultiLvlLbl val="0"/>
      </c:catAx>
      <c:valAx>
        <c:axId val="532087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lang="da-DK" sz="1400" b="1" i="0" u="none" strike="noStrike" kern="1200" baseline="0" noProof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a-DK" sz="1400" b="1" noProof="0" dirty="0">
                    <a:solidFill>
                      <a:schemeClr val="tx2"/>
                    </a:solidFill>
                  </a:rPr>
                  <a:t>kg</a:t>
                </a:r>
                <a:r>
                  <a:rPr lang="da-DK" sz="1400" b="1" baseline="0" noProof="0" dirty="0">
                    <a:solidFill>
                      <a:schemeClr val="tx2"/>
                    </a:solidFill>
                  </a:rPr>
                  <a:t> CO</a:t>
                </a:r>
                <a:r>
                  <a:rPr lang="da-DK" sz="1400" b="1" baseline="-25000" noProof="0" dirty="0">
                    <a:solidFill>
                      <a:schemeClr val="tx2"/>
                    </a:solidFill>
                  </a:rPr>
                  <a:t>2</a:t>
                </a:r>
                <a:r>
                  <a:rPr lang="da-DK" sz="1400" b="1" baseline="0" noProof="0" dirty="0">
                    <a:solidFill>
                      <a:schemeClr val="tx2"/>
                    </a:solidFill>
                  </a:rPr>
                  <a:t> pr ton klinker</a:t>
                </a:r>
                <a:endParaRPr lang="da-DK" sz="1400" b="1" noProof="0" dirty="0">
                  <a:solidFill>
                    <a:schemeClr val="tx2"/>
                  </a:solidFill>
                </a:endParaRPr>
              </a:p>
            </c:rich>
          </c:tx>
          <c:layout>
            <c:manualLayout>
              <c:xMode val="edge"/>
              <c:yMode val="edge"/>
              <c:x val="2.3464129535297532E-2"/>
              <c:y val="0.1849156025315428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lang="da-DK" sz="1400" b="1" i="0" u="none" strike="noStrike" kern="1200" baseline="0" noProof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2086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5937202599086517"/>
          <c:y val="4.5224798418358532E-2"/>
          <c:w val="0.2406279740091348"/>
          <c:h val="0.11134935944593116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accent1"/>
              </a:solidFill>
              <a:ln w="762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14-D44D-9F8C-D7E62859591A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762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4C14-D44D-9F8C-D7E62859591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0DB-8A4E-A736-3807BAC377E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0DB-8A4E-A736-3807BAC377E3}"/>
              </c:ext>
            </c:extLst>
          </c:dPt>
          <c:cat>
            <c:numRef>
              <c:f>'Ark1'!$A$2:$A$5</c:f>
              <c:numCache>
                <c:formatCode>General</c:formatCode>
                <c:ptCount val="4"/>
              </c:numCache>
            </c:numRef>
          </c:cat>
          <c:val>
            <c:numRef>
              <c:f>'Ark1'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14-D44D-9F8C-D7E6285959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accent1"/>
              </a:solidFill>
              <a:ln w="762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14-D44D-9F8C-D7E62859591A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762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4C14-D44D-9F8C-D7E62859591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7D4-304F-9BCF-A4DCB9D04EA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7D4-304F-9BCF-A4DCB9D04EAD}"/>
              </c:ext>
            </c:extLst>
          </c:dPt>
          <c:cat>
            <c:numRef>
              <c:f>'Ark1'!$A$2:$A$5</c:f>
              <c:numCache>
                <c:formatCode>General</c:formatCode>
                <c:ptCount val="4"/>
              </c:numCache>
            </c:numRef>
          </c:cat>
          <c:val>
            <c:numRef>
              <c:f>'Ark1'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14-D44D-9F8C-D7E6285959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pattFill prst="wdDnDiag">
                <a:fgClr>
                  <a:srgbClr val="82BA06"/>
                </a:fgClr>
                <a:bgClr>
                  <a:schemeClr val="bg1"/>
                </a:bgClr>
              </a:pattFill>
              <a:ln w="76200">
                <a:solidFill>
                  <a:srgbClr val="82BA0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60D-9547-985C-6BA5F42863D9}"/>
              </c:ext>
            </c:extLst>
          </c:dPt>
          <c:dPt>
            <c:idx val="1"/>
            <c:bubble3D val="0"/>
            <c:spPr>
              <a:solidFill>
                <a:schemeClr val="tx1">
                  <a:alpha val="0"/>
                </a:schemeClr>
              </a:solidFill>
              <a:ln w="76200">
                <a:solidFill>
                  <a:schemeClr val="tx1"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60D-9547-985C-6BA5F42863D9}"/>
              </c:ext>
            </c:extLst>
          </c:dPt>
          <c:dPt>
            <c:idx val="2"/>
            <c:bubble3D val="0"/>
            <c:spPr>
              <a:solidFill>
                <a:schemeClr val="tx1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60D-9547-985C-6BA5F42863D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60D-9547-985C-6BA5F42863D9}"/>
              </c:ext>
            </c:extLst>
          </c:dPt>
          <c:cat>
            <c:numRef>
              <c:f>'Ark1'!$A$2:$A$5</c:f>
              <c:numCache>
                <c:formatCode>General</c:formatCode>
                <c:ptCount val="4"/>
              </c:numCache>
            </c:numRef>
          </c:cat>
          <c:val>
            <c:numRef>
              <c:f>'Ark1'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60D-9547-985C-6BA5F42863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noFill/>
              <a:ln w="76200">
                <a:solidFill>
                  <a:schemeClr val="accent1"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4E-8946-9F6D-40E5D952E740}"/>
              </c:ext>
            </c:extLst>
          </c:dPt>
          <c:dPt>
            <c:idx val="1"/>
            <c:bubble3D val="0"/>
            <c:spPr>
              <a:noFill/>
              <a:ln w="76200">
                <a:solidFill>
                  <a:srgbClr val="82BA06">
                    <a:alpha val="0"/>
                  </a:srgb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4E-8946-9F6D-40E5D952E740}"/>
              </c:ext>
            </c:extLst>
          </c:dPt>
          <c:dPt>
            <c:idx val="2"/>
            <c:bubble3D val="0"/>
            <c:spPr>
              <a:noFill/>
              <a:ln w="762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4E-8946-9F6D-40E5D952E740}"/>
              </c:ext>
            </c:extLst>
          </c:dPt>
          <c:dPt>
            <c:idx val="3"/>
            <c:bubble3D val="0"/>
            <c:spPr>
              <a:pattFill prst="wdDnDiag">
                <a:fgClr>
                  <a:srgbClr val="82BA06"/>
                </a:fgClr>
                <a:bgClr>
                  <a:schemeClr val="bg1"/>
                </a:bgClr>
              </a:pattFill>
              <a:ln w="76200">
                <a:solidFill>
                  <a:srgbClr val="82BA0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4E-8946-9F6D-40E5D952E740}"/>
              </c:ext>
            </c:extLst>
          </c:dPt>
          <c:cat>
            <c:numRef>
              <c:f>'Ark1'!$A$2:$A$5</c:f>
              <c:numCache>
                <c:formatCode>General</c:formatCode>
                <c:ptCount val="4"/>
              </c:numCache>
            </c:numRef>
          </c:cat>
          <c:val>
            <c:numRef>
              <c:f>'Ark1'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4E-8946-9F6D-40E5D952E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accent1"/>
              </a:solidFill>
              <a:ln w="762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14-D44D-9F8C-D7E62859591A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762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4C14-D44D-9F8C-D7E62859591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7D4-304F-9BCF-A4DCB9D04EA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7D4-304F-9BCF-A4DCB9D04EAD}"/>
              </c:ext>
            </c:extLst>
          </c:dPt>
          <c:cat>
            <c:numRef>
              <c:f>'Ark1'!$A$2:$A$5</c:f>
              <c:numCache>
                <c:formatCode>General</c:formatCode>
                <c:ptCount val="4"/>
              </c:numCache>
            </c:numRef>
          </c:cat>
          <c:val>
            <c:numRef>
              <c:f>'Ark1'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14-D44D-9F8C-D7E6285959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pattFill prst="wdDnDiag">
                <a:fgClr>
                  <a:srgbClr val="82BA06"/>
                </a:fgClr>
                <a:bgClr>
                  <a:schemeClr val="bg1"/>
                </a:bgClr>
              </a:pattFill>
              <a:ln w="76200">
                <a:solidFill>
                  <a:srgbClr val="82BA0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60D-9547-985C-6BA5F42863D9}"/>
              </c:ext>
            </c:extLst>
          </c:dPt>
          <c:dPt>
            <c:idx val="1"/>
            <c:bubble3D val="0"/>
            <c:spPr>
              <a:solidFill>
                <a:schemeClr val="tx1">
                  <a:alpha val="0"/>
                </a:schemeClr>
              </a:solidFill>
              <a:ln w="76200">
                <a:solidFill>
                  <a:schemeClr val="tx1"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60D-9547-985C-6BA5F42863D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60D-9547-985C-6BA5F42863D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60D-9547-985C-6BA5F42863D9}"/>
              </c:ext>
            </c:extLst>
          </c:dPt>
          <c:cat>
            <c:numRef>
              <c:f>'Ark1'!$A$2:$A$5</c:f>
              <c:numCache>
                <c:formatCode>General</c:formatCode>
                <c:ptCount val="4"/>
              </c:numCache>
            </c:numRef>
          </c:cat>
          <c:val>
            <c:numRef>
              <c:f>'Ark1'!$B$2:$B$5</c:f>
              <c:numCache>
                <c:formatCode>General</c:formatCode>
                <c:ptCount val="4"/>
                <c:pt idx="0">
                  <c:v>4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60D-9547-985C-6BA5F42863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Kolonne2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noFill/>
              <a:ln w="76200">
                <a:solidFill>
                  <a:schemeClr val="accent1">
                    <a:alpha val="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4E-8946-9F6D-40E5D952E740}"/>
              </c:ext>
            </c:extLst>
          </c:dPt>
          <c:dPt>
            <c:idx val="1"/>
            <c:bubble3D val="0"/>
            <c:spPr>
              <a:noFill/>
              <a:ln w="762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54E-8946-9F6D-40E5D952E740}"/>
              </c:ext>
            </c:extLst>
          </c:dPt>
          <c:dPt>
            <c:idx val="2"/>
            <c:bubble3D val="0"/>
            <c:spPr>
              <a:noFill/>
              <a:ln w="762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54E-8946-9F6D-40E5D952E740}"/>
              </c:ext>
            </c:extLst>
          </c:dPt>
          <c:dPt>
            <c:idx val="3"/>
            <c:bubble3D val="0"/>
            <c:spPr>
              <a:pattFill prst="wdDnDiag">
                <a:fgClr>
                  <a:srgbClr val="82BA06"/>
                </a:fgClr>
                <a:bgClr>
                  <a:schemeClr val="bg1"/>
                </a:bgClr>
              </a:pattFill>
              <a:ln w="76200">
                <a:solidFill>
                  <a:srgbClr val="82BA0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4E-8946-9F6D-40E5D952E740}"/>
              </c:ext>
            </c:extLst>
          </c:dPt>
          <c:cat>
            <c:numRef>
              <c:f>'Ark1'!$A$2:$A$5</c:f>
              <c:numCache>
                <c:formatCode>General</c:formatCode>
                <c:ptCount val="4"/>
              </c:numCache>
            </c:numRef>
          </c:cat>
          <c:val>
            <c:numRef>
              <c:f>'Ark1'!$B$2:$B$5</c:f>
              <c:numCache>
                <c:formatCode>General</c:formatCode>
                <c:ptCount val="4"/>
                <c:pt idx="0">
                  <c:v>40</c:v>
                </c:pt>
                <c:pt idx="1">
                  <c:v>10</c:v>
                </c:pt>
                <c:pt idx="2">
                  <c:v>20</c:v>
                </c:pt>
                <c:pt idx="3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4E-8946-9F6D-40E5D952E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1" y="9119476"/>
            <a:ext cx="3169919" cy="481726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4143589" y="9119476"/>
            <a:ext cx="3169919" cy="481726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4143589" y="1"/>
            <a:ext cx="3169919" cy="481727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3/03/2021</a:t>
            </a:fld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69919" cy="481727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731521" y="4620578"/>
            <a:ext cx="5852160" cy="3780473"/>
          </a:xfrm>
          <a:prstGeom prst="rect">
            <a:avLst/>
          </a:prstGeom>
        </p:spPr>
        <p:txBody>
          <a:bodyPr vert="horz" lIns="91065" tIns="45533" rIns="91065" bIns="45533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19" cy="481727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03/03/2021</a:t>
            </a:fld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4143589" y="9119476"/>
            <a:ext cx="3169919" cy="481726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1" y="9119476"/>
            <a:ext cx="3169919" cy="481726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l">
              <a:defRPr sz="1000"/>
            </a:lvl1pPr>
          </a:lstStyle>
          <a:p>
            <a:endParaRPr lang="en-GB" dirty="0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65" tIns="45533" rIns="91065" bIns="45533" rtlCol="0" anchor="ctr"/>
          <a:lstStyle/>
          <a:p>
            <a:endParaRPr lang="en-GB" dirty="0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169919" cy="481727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l">
              <a:defRPr sz="1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6127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6753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7107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da-DK"/>
          </a:p>
        </p:txBody>
      </p:sp>
      <p:sp>
        <p:nvSpPr>
          <p:cNvPr id="47108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1076081" indent="-413877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655513" indent="-3311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2317717" indent="-3311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979919" indent="-3311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3642125" indent="-331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4304334" indent="-331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4966534" indent="-331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5628739" indent="-331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7FB766DB-3BE9-46FB-9B90-7FA08D282D63}" type="slidenum">
              <a:rPr lang="it-IT" altLang="da-DK" smtClean="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12</a:t>
            </a:fld>
            <a:endParaRPr lang="it-IT" altLang="da-DK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87117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8.xml"/><Relationship Id="rId4" Type="http://schemas.openxmlformats.org/officeDocument/2006/relationships/image" Target="../media/image14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6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3.xml"/><Relationship Id="rId4" Type="http://schemas.openxmlformats.org/officeDocument/2006/relationships/image" Target="../media/image14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4.xml"/><Relationship Id="rId4" Type="http://schemas.openxmlformats.org/officeDocument/2006/relationships/image" Target="../media/image14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7.xml"/><Relationship Id="rId5" Type="http://schemas.openxmlformats.org/officeDocument/2006/relationships/image" Target="../media/image21.png"/><Relationship Id="rId4" Type="http://schemas.openxmlformats.org/officeDocument/2006/relationships/image" Target="../media/image14.emf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5.jpg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2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7.jpg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9.jp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6.xml"/><Relationship Id="rId4" Type="http://schemas.openxmlformats.org/officeDocument/2006/relationships/image" Target="../media/image20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7" Type="http://schemas.openxmlformats.org/officeDocument/2006/relationships/image" Target="../media/image16.png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16.png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7" Type="http://schemas.openxmlformats.org/officeDocument/2006/relationships/image" Target="../media/image21.pn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24.png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21.png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image" Target="../media/image21.png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6.xml"/><Relationship Id="rId5" Type="http://schemas.openxmlformats.org/officeDocument/2006/relationships/image" Target="../media/image16.png"/><Relationship Id="rId4" Type="http://schemas.openxmlformats.org/officeDocument/2006/relationships/image" Target="../media/image23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6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7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8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9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5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15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19.jp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2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0.xml"/><Relationship Id="rId6" Type="http://schemas.openxmlformats.org/officeDocument/2006/relationships/image" Target="../media/image17.jp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8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7" Type="http://schemas.openxmlformats.org/officeDocument/2006/relationships/image" Target="../media/image16.png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0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2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4.xml"/><Relationship Id="rId1" Type="http://schemas.openxmlformats.org/officeDocument/2006/relationships/tags" Target="../tags/tag243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3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4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249.xml"/><Relationship Id="rId7" Type="http://schemas.openxmlformats.org/officeDocument/2006/relationships/image" Target="../media/image21.png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6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24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8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9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0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2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3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0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6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7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8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9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0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1.xml"/><Relationship Id="rId6" Type="http://schemas.openxmlformats.org/officeDocument/2006/relationships/image" Target="../media/image18.png"/><Relationship Id="rId5" Type="http://schemas.openxmlformats.org/officeDocument/2006/relationships/image" Target="../media/image17.jpg"/><Relationship Id="rId4" Type="http://schemas.openxmlformats.org/officeDocument/2006/relationships/image" Target="../media/image15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3.xml"/><Relationship Id="rId1" Type="http://schemas.openxmlformats.org/officeDocument/2006/relationships/tags" Target="../tags/tag28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2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5.xml"/><Relationship Id="rId1" Type="http://schemas.openxmlformats.org/officeDocument/2006/relationships/tags" Target="../tags/tag284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3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6.xml"/><Relationship Id="rId4" Type="http://schemas.openxmlformats.org/officeDocument/2006/relationships/image" Target="../media/image14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7.xml"/><Relationship Id="rId4" Type="http://schemas.openxmlformats.org/officeDocument/2006/relationships/image" Target="../media/image14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6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7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2.xml"/><Relationship Id="rId4" Type="http://schemas.openxmlformats.org/officeDocument/2006/relationships/image" Target="../media/image14.emf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3.xml"/><Relationship Id="rId4" Type="http://schemas.openxmlformats.org/officeDocument/2006/relationships/image" Target="../media/image14.emf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image" Target="../media/image1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0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6.xml"/><Relationship Id="rId5" Type="http://schemas.openxmlformats.org/officeDocument/2006/relationships/image" Target="../media/image21.png"/><Relationship Id="rId4" Type="http://schemas.openxmlformats.org/officeDocument/2006/relationships/image" Target="../media/image14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5.jpg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2.bin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jp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jp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20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6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6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1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4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1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21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5" Type="http://schemas.openxmlformats.org/officeDocument/2006/relationships/image" Target="../media/image16.png"/><Relationship Id="rId4" Type="http://schemas.openxmlformats.org/officeDocument/2006/relationships/image" Target="../media/image2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7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8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9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6" Type="http://schemas.openxmlformats.org/officeDocument/2006/relationships/image" Target="../media/image26.png"/><Relationship Id="rId5" Type="http://schemas.openxmlformats.org/officeDocument/2006/relationships/image" Target="../media/image25.jpg"/><Relationship Id="rId4" Type="http://schemas.openxmlformats.org/officeDocument/2006/relationships/image" Target="../media/image1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9.jp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1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6" Type="http://schemas.openxmlformats.org/officeDocument/2006/relationships/image" Target="../media/image17.jp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6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6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21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24.pn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8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9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0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1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2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3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1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7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8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0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2.xml"/><Relationship Id="rId6" Type="http://schemas.openxmlformats.org/officeDocument/2006/relationships/image" Target="../media/image18.png"/><Relationship Id="rId5" Type="http://schemas.openxmlformats.org/officeDocument/2006/relationships/image" Target="../media/image17.jpg"/><Relationship Id="rId4" Type="http://schemas.openxmlformats.org/officeDocument/2006/relationships/image" Target="../media/image1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2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7.xml"/><Relationship Id="rId4" Type="http://schemas.openxmlformats.org/officeDocument/2006/relationships/image" Target="../media/image1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810AC4A-B76B-4C0B-8943-044B614CCDE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2"/>
            <a:ext cx="12192000" cy="6154739"/>
          </a:xfrm>
          <a:solidFill>
            <a:schemeClr val="bg2"/>
          </a:solidFill>
        </p:spPr>
        <p:txBody>
          <a:bodyPr tIns="32400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 dirty="0"/>
              <a:t>Click the placeholder and paste picture via Insert/Pictures and find th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68829" y="1840287"/>
            <a:ext cx="8049427" cy="2422790"/>
          </a:xfrm>
          <a:ln w="57150">
            <a:solidFill>
              <a:schemeClr val="bg1"/>
            </a:solidFill>
            <a:miter lim="800000"/>
          </a:ln>
        </p:spPr>
        <p:txBody>
          <a:bodyPr lIns="2160000" tIns="1044000" rIns="396000" bIns="900000" anchor="ctr" anchorCtr="0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DE2581F6-12B3-461C-B57D-798E83201770}"/>
              </a:ext>
            </a:extLst>
          </p:cNvPr>
          <p:cNvSpPr>
            <a:spLocks noGrp="1" noChangeAspect="1"/>
          </p:cNvSpPr>
          <p:nvPr>
            <p:ph type="subTitle" idx="1" hasCustomPrompt="1"/>
          </p:nvPr>
        </p:nvSpPr>
        <p:spPr>
          <a:xfrm>
            <a:off x="2456842" y="2264238"/>
            <a:ext cx="1498900" cy="1576800"/>
          </a:xfrm>
          <a:custGeom>
            <a:avLst/>
            <a:gdLst>
              <a:gd name="connsiteX0" fmla="*/ 1142764 w 6026400"/>
              <a:gd name="connsiteY0" fmla="*/ 3400834 h 6339600"/>
              <a:gd name="connsiteX1" fmla="*/ 3153838 w 6026400"/>
              <a:gd name="connsiteY1" fmla="*/ 5287793 h 6339600"/>
              <a:gd name="connsiteX2" fmla="*/ 4685472 w 6026400"/>
              <a:gd name="connsiteY2" fmla="*/ 4521417 h 6339600"/>
              <a:gd name="connsiteX3" fmla="*/ 5991865 w 6026400"/>
              <a:gd name="connsiteY3" fmla="*/ 4521417 h 6339600"/>
              <a:gd name="connsiteX4" fmla="*/ 3398417 w 6026400"/>
              <a:gd name="connsiteY4" fmla="*/ 6332634 h 6339600"/>
              <a:gd name="connsiteX5" fmla="*/ 3210706 w 6026400"/>
              <a:gd name="connsiteY5" fmla="*/ 6339600 h 6339600"/>
              <a:gd name="connsiteX6" fmla="*/ 3137224 w 6026400"/>
              <a:gd name="connsiteY6" fmla="*/ 6339600 h 6339600"/>
              <a:gd name="connsiteX7" fmla="*/ 3008198 w 6026400"/>
              <a:gd name="connsiteY7" fmla="*/ 6336082 h 6339600"/>
              <a:gd name="connsiteX8" fmla="*/ 856388 w 6026400"/>
              <a:gd name="connsiteY8" fmla="*/ 5310334 h 6339600"/>
              <a:gd name="connsiteX9" fmla="*/ 1142764 w 6026400"/>
              <a:gd name="connsiteY9" fmla="*/ 3400834 h 6339600"/>
              <a:gd name="connsiteX10" fmla="*/ 3153514 w 6026400"/>
              <a:gd name="connsiteY10" fmla="*/ 0 h 6339600"/>
              <a:gd name="connsiteX11" fmla="*/ 5909425 w 6026400"/>
              <a:gd name="connsiteY11" fmla="*/ 1619900 h 6339600"/>
              <a:gd name="connsiteX12" fmla="*/ 6026400 w 6026400"/>
              <a:gd name="connsiteY12" fmla="*/ 1859617 h 6339600"/>
              <a:gd name="connsiteX13" fmla="*/ 6026400 w 6026400"/>
              <a:gd name="connsiteY13" fmla="*/ 1860996 h 6339600"/>
              <a:gd name="connsiteX14" fmla="*/ 6024566 w 6026400"/>
              <a:gd name="connsiteY14" fmla="*/ 1860996 h 6339600"/>
              <a:gd name="connsiteX15" fmla="*/ 4743143 w 6026400"/>
              <a:gd name="connsiteY15" fmla="*/ 1860996 h 6339600"/>
              <a:gd name="connsiteX16" fmla="*/ 3111682 w 6026400"/>
              <a:gd name="connsiteY16" fmla="*/ 1052847 h 6339600"/>
              <a:gd name="connsiteX17" fmla="*/ 1132691 w 6026400"/>
              <a:gd name="connsiteY17" fmla="*/ 3026534 h 6339600"/>
              <a:gd name="connsiteX18" fmla="*/ 144804 w 6026400"/>
              <a:gd name="connsiteY18" fmla="*/ 4082601 h 6339600"/>
              <a:gd name="connsiteX19" fmla="*/ 0 w 6026400"/>
              <a:gd name="connsiteY19" fmla="*/ 3145663 h 6339600"/>
              <a:gd name="connsiteX20" fmla="*/ 3153514 w 6026400"/>
              <a:gd name="connsiteY20" fmla="*/ 0 h 633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026400" h="6339600">
                <a:moveTo>
                  <a:pt x="1142764" y="3400834"/>
                </a:moveTo>
                <a:cubicBezTo>
                  <a:pt x="1265038" y="4437696"/>
                  <a:pt x="2153128" y="5287793"/>
                  <a:pt x="3153838" y="5287793"/>
                </a:cubicBezTo>
                <a:cubicBezTo>
                  <a:pt x="3967921" y="5287793"/>
                  <a:pt x="4411966" y="4808003"/>
                  <a:pt x="4685472" y="4521417"/>
                </a:cubicBezTo>
                <a:cubicBezTo>
                  <a:pt x="4685472" y="4521417"/>
                  <a:pt x="4685472" y="4521417"/>
                  <a:pt x="5991865" y="4521417"/>
                </a:cubicBezTo>
                <a:cubicBezTo>
                  <a:pt x="5545407" y="5571965"/>
                  <a:pt x="4490913" y="6251763"/>
                  <a:pt x="3398417" y="6332634"/>
                </a:cubicBezTo>
                <a:lnTo>
                  <a:pt x="3210706" y="6339600"/>
                </a:lnTo>
                <a:lnTo>
                  <a:pt x="3137224" y="6339600"/>
                </a:lnTo>
                <a:lnTo>
                  <a:pt x="3008198" y="6336082"/>
                </a:lnTo>
                <a:cubicBezTo>
                  <a:pt x="2157301" y="6289561"/>
                  <a:pt x="1399378" y="5899003"/>
                  <a:pt x="856388" y="5310334"/>
                </a:cubicBezTo>
                <a:cubicBezTo>
                  <a:pt x="708372" y="4911046"/>
                  <a:pt x="518527" y="4080268"/>
                  <a:pt x="1142764" y="3400834"/>
                </a:cubicBezTo>
                <a:close/>
                <a:moveTo>
                  <a:pt x="3153514" y="0"/>
                </a:moveTo>
                <a:cubicBezTo>
                  <a:pt x="4103791" y="0"/>
                  <a:pt x="5283155" y="461262"/>
                  <a:pt x="5909425" y="1619900"/>
                </a:cubicBezTo>
                <a:lnTo>
                  <a:pt x="6026400" y="1859617"/>
                </a:lnTo>
                <a:lnTo>
                  <a:pt x="6026400" y="1860996"/>
                </a:lnTo>
                <a:lnTo>
                  <a:pt x="6024566" y="1860996"/>
                </a:lnTo>
                <a:cubicBezTo>
                  <a:pt x="6007012" y="1860996"/>
                  <a:pt x="5866582" y="1860996"/>
                  <a:pt x="4743143" y="1860996"/>
                </a:cubicBezTo>
                <a:cubicBezTo>
                  <a:pt x="4305512" y="1358720"/>
                  <a:pt x="3787435" y="1052847"/>
                  <a:pt x="3111682" y="1052847"/>
                </a:cubicBezTo>
                <a:cubicBezTo>
                  <a:pt x="2162410" y="1052847"/>
                  <a:pt x="1203484" y="1877095"/>
                  <a:pt x="1132691" y="3026534"/>
                </a:cubicBezTo>
                <a:cubicBezTo>
                  <a:pt x="958926" y="3087708"/>
                  <a:pt x="376491" y="3342066"/>
                  <a:pt x="144804" y="4082601"/>
                </a:cubicBezTo>
                <a:cubicBezTo>
                  <a:pt x="51486" y="3786387"/>
                  <a:pt x="0" y="3470855"/>
                  <a:pt x="0" y="3145663"/>
                </a:cubicBezTo>
                <a:cubicBezTo>
                  <a:pt x="0" y="1464971"/>
                  <a:pt x="1393338" y="0"/>
                  <a:pt x="315351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00"/>
            </a:lvl1pPr>
            <a:lvl2pPr marL="0" indent="0" algn="l">
              <a:buFont typeface="Arial" panose="020B0604020202020204" pitchFamily="34" charset="0"/>
              <a:buChar char="​"/>
              <a:defRPr sz="100"/>
            </a:lvl2pPr>
            <a:lvl3pPr marL="0" indent="0" algn="l">
              <a:buFont typeface="Arial" panose="020B0604020202020204" pitchFamily="34" charset="0"/>
              <a:buChar char="​"/>
              <a:defRPr sz="100"/>
            </a:lvl3pPr>
            <a:lvl4pPr marL="0" indent="0" algn="l">
              <a:buFont typeface="Arial" panose="020B0604020202020204" pitchFamily="34" charset="0"/>
              <a:buChar char="​"/>
              <a:defRPr sz="100"/>
            </a:lvl4pPr>
            <a:lvl5pPr marL="0" indent="0" algn="l">
              <a:buFont typeface="Arial" panose="020B0604020202020204" pitchFamily="34" charset="0"/>
              <a:buChar char="​"/>
              <a:defRPr sz="100"/>
            </a:lvl5pPr>
            <a:lvl6pPr marL="0" indent="0" algn="l">
              <a:buFont typeface="Arial" panose="020B0604020202020204" pitchFamily="34" charset="0"/>
              <a:buChar char="​"/>
              <a:defRPr sz="100"/>
            </a:lvl6pPr>
            <a:lvl7pPr marL="0" indent="0" algn="l">
              <a:buFont typeface="Arial" panose="020B0604020202020204" pitchFamily="34" charset="0"/>
              <a:buChar char="​"/>
              <a:defRPr sz="100"/>
            </a:lvl7pPr>
            <a:lvl8pPr marL="0" indent="0" algn="l">
              <a:buFont typeface="Arial" panose="020B0604020202020204" pitchFamily="34" charset="0"/>
              <a:buChar char="​"/>
              <a:defRPr sz="100"/>
            </a:lvl8pPr>
            <a:lvl9pPr marL="0" indent="0" algn="l">
              <a:buFont typeface="Arial" panose="020B0604020202020204" pitchFamily="34" charset="0"/>
              <a:buChar char="​"/>
              <a:defRPr sz="100"/>
            </a:lvl9pPr>
          </a:lstStyle>
          <a:p>
            <a:r>
              <a:rPr lang="en-GB" dirty="0"/>
              <a:t>.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539749" y="6434418"/>
            <a:ext cx="2401755" cy="180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3540000" y="6434418"/>
            <a:ext cx="5112000" cy="180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523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0117DA-1AE5-43F3-997C-8C34FD91F3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8777" y="1304926"/>
            <a:ext cx="5592761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AFF2A4E-FFB1-480E-859D-B3822BE1B9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38875" y="1304926"/>
            <a:ext cx="5592763" cy="4668838"/>
          </a:xfrm>
          <a:solidFill>
            <a:schemeClr val="bg2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09AD017-D152-4779-9751-EE23C27C64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9344288-40E1-4781-9280-7BCC130067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25264-4069-4AFF-9424-547F41181D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2575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09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da-DK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72143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332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320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034829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373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8491"/>
            <a:ext cx="3448800" cy="3489100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rtl="0"/>
            <a:r>
              <a:rPr lang="da-DK">
                <a:solidFill>
                  <a:srgbClr val="575757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5734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0347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535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926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da-DK">
                <a:solidFill>
                  <a:srgbClr val="575757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427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98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240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2975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3369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1117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rtl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da-DK" sz="5400">
                <a:solidFill>
                  <a:srgbClr val="575757"/>
                </a:solidFill>
                <a:latin typeface="+mj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0632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0972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36" b="17166"/>
          <a:stretch/>
        </p:blipFill>
        <p:spPr>
          <a:xfrm flipH="1">
            <a:off x="-44178" y="-20817"/>
            <a:ext cx="12235384" cy="5316717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black">
          <a:xfrm>
            <a:off x="630936" y="1128017"/>
            <a:ext cx="8125200" cy="3039867"/>
          </a:xfrm>
          <a:prstGeom prst="rect">
            <a:avLst/>
          </a:prstGeom>
          <a:solidFill>
            <a:srgbClr val="FFFFFF">
              <a:alpha val="79000"/>
            </a:srgbClr>
          </a:soli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sp>
        <p:nvSpPr>
          <p:cNvPr id="28" name="Text Placeholder 6"/>
          <p:cNvSpPr>
            <a:spLocks noGrp="1"/>
          </p:cNvSpPr>
          <p:nvPr userDrawn="1"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rtlCol="0"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 rtl="0"/>
            <a:r>
              <a:rPr lang="da-DK"/>
              <a:t>Click to edit date/place</a:t>
            </a:r>
          </a:p>
        </p:txBody>
      </p:sp>
      <p:sp>
        <p:nvSpPr>
          <p:cNvPr id="29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Subtitle in sentence cas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7415" y="1417596"/>
            <a:ext cx="5628257" cy="2756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706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1114411"/>
            <a:ext cx="10731309" cy="332399"/>
          </a:xfrm>
        </p:spPr>
        <p:txBody>
          <a:bodyPr rtlCol="0" anchor="t"/>
          <a:lstStyle/>
          <a:p>
            <a:pPr rtl="0"/>
            <a:r>
              <a:rPr lang="da-DK"/>
              <a:t>Klik for at redigere i master</a:t>
            </a:r>
          </a:p>
        </p:txBody>
      </p:sp>
      <p:sp>
        <p:nvSpPr>
          <p:cNvPr id="14" name="Pladsholder til indhold 4"/>
          <p:cNvSpPr>
            <a:spLocks noGrp="1"/>
          </p:cNvSpPr>
          <p:nvPr>
            <p:ph sz="quarter" idx="17"/>
          </p:nvPr>
        </p:nvSpPr>
        <p:spPr>
          <a:xfrm>
            <a:off x="719404" y="2074334"/>
            <a:ext cx="5200385" cy="4523317"/>
          </a:xfrm>
        </p:spPr>
        <p:txBody>
          <a:bodyPr rtlCol="0">
            <a:normAutofit/>
          </a:bodyPr>
          <a:lstStyle>
            <a:lvl1pPr marL="241294" indent="-241294">
              <a:buFont typeface="Wingdings" pitchFamily="2" charset="2"/>
              <a:buChar char="§"/>
              <a:defRPr sz="2400"/>
            </a:lvl1pPr>
            <a:lvl2pPr>
              <a:defRPr sz="2133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 rtl="0"/>
            <a:r>
              <a:rPr lang="da-DK"/>
              <a:t>Klik for at redigere i master</a:t>
            </a:r>
          </a:p>
          <a:p>
            <a:pPr lvl="1" rtl="0"/>
            <a:r>
              <a:rPr lang="da-DK"/>
              <a:t>Andet niveau</a:t>
            </a:r>
          </a:p>
          <a:p>
            <a:pPr lvl="2" rtl="0"/>
            <a:r>
              <a:rPr lang="da-DK"/>
              <a:t>Tredje niveau</a:t>
            </a:r>
          </a:p>
          <a:p>
            <a:pPr lvl="3" rtl="0"/>
            <a:r>
              <a:rPr lang="da-DK"/>
              <a:t>Fjerde niveau</a:t>
            </a:r>
          </a:p>
          <a:p>
            <a:pPr lvl="4" rtl="0"/>
            <a:r>
              <a:rPr lang="da-DK"/>
              <a:t>Femte niveau</a:t>
            </a:r>
          </a:p>
        </p:txBody>
      </p:sp>
      <p:sp>
        <p:nvSpPr>
          <p:cNvPr id="8" name="Pladsholder til indhold 4"/>
          <p:cNvSpPr>
            <a:spLocks noGrp="1"/>
          </p:cNvSpPr>
          <p:nvPr>
            <p:ph sz="quarter" idx="18"/>
          </p:nvPr>
        </p:nvSpPr>
        <p:spPr>
          <a:xfrm>
            <a:off x="6271949" y="2074334"/>
            <a:ext cx="5200385" cy="4523317"/>
          </a:xfrm>
        </p:spPr>
        <p:txBody>
          <a:bodyPr rtlCol="0">
            <a:normAutofit/>
          </a:bodyPr>
          <a:lstStyle>
            <a:lvl1pPr marL="241294" indent="-241294">
              <a:buFont typeface="Wingdings" pitchFamily="2" charset="2"/>
              <a:buChar char="§"/>
              <a:defRPr sz="2400"/>
            </a:lvl1pPr>
            <a:lvl2pPr>
              <a:defRPr sz="2133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 rtl="0"/>
            <a:r>
              <a:rPr lang="da-DK"/>
              <a:t>Klik for at redigere i master</a:t>
            </a:r>
          </a:p>
          <a:p>
            <a:pPr lvl="1" rtl="0"/>
            <a:r>
              <a:rPr lang="da-DK"/>
              <a:t>Andet niveau</a:t>
            </a:r>
          </a:p>
          <a:p>
            <a:pPr lvl="2" rtl="0"/>
            <a:r>
              <a:rPr lang="da-DK"/>
              <a:t>Tredje niveau</a:t>
            </a:r>
          </a:p>
          <a:p>
            <a:pPr lvl="3" rtl="0"/>
            <a:r>
              <a:rPr lang="da-DK"/>
              <a:t>Fjerde niveau</a:t>
            </a:r>
          </a:p>
          <a:p>
            <a:pPr lvl="4" rtl="0"/>
            <a:r>
              <a:rPr lang="da-DK"/>
              <a:t>Femte niveau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-153392" y="-1393427"/>
            <a:ext cx="6077149" cy="57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08847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defRPr/>
            </a:pPr>
            <a:r>
              <a:rPr lang="da-DK" sz="1867"/>
              <a:t>I begge indholdsbokse kan placeres tekst, billede, tabel og andet indhold i</a:t>
            </a:r>
          </a:p>
        </p:txBody>
      </p:sp>
      <p:sp>
        <p:nvSpPr>
          <p:cNvPr id="11" name="Tekstboks 10"/>
          <p:cNvSpPr txBox="1"/>
          <p:nvPr userDrawn="1"/>
        </p:nvSpPr>
        <p:spPr>
          <a:xfrm>
            <a:off x="6288618" y="-1249798"/>
            <a:ext cx="6077149" cy="8619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08847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da-DK" sz="1867"/>
              <a:t>Slet eventuelt billede. Klik på ikonet for at tilføje et billede. </a:t>
            </a:r>
          </a:p>
          <a:p>
            <a:pPr marL="0" marR="0" indent="0" algn="l" defTabSz="108847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da-DK" sz="1867"/>
              <a:t>Fravælg bullit i teksten, hvis det ikke er relevant  </a:t>
            </a:r>
          </a:p>
        </p:txBody>
      </p:sp>
      <p:sp>
        <p:nvSpPr>
          <p:cNvPr id="13" name="Tekstboks 12"/>
          <p:cNvSpPr txBox="1"/>
          <p:nvPr userDrawn="1"/>
        </p:nvSpPr>
        <p:spPr>
          <a:xfrm>
            <a:off x="-150087" y="-1851586"/>
            <a:ext cx="6077149" cy="287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08847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da-DK" sz="1867">
                <a:solidFill>
                  <a:srgbClr val="C00000"/>
                </a:solidFill>
              </a:rPr>
              <a:t>To indholdsbokse</a:t>
            </a:r>
          </a:p>
        </p:txBody>
      </p:sp>
      <p:sp>
        <p:nvSpPr>
          <p:cNvPr id="10" name="Freeform 9"/>
          <p:cNvSpPr/>
          <p:nvPr userDrawn="1"/>
        </p:nvSpPr>
        <p:spPr bwMode="auto">
          <a:xfrm>
            <a:off x="-7201" y="715769"/>
            <a:ext cx="12210469" cy="370876"/>
          </a:xfrm>
          <a:custGeom>
            <a:avLst/>
            <a:gdLst>
              <a:gd name="T0" fmla="*/ 0 w 2880"/>
              <a:gd name="T1" fmla="*/ 0 h 88"/>
              <a:gd name="T2" fmla="*/ 2748 w 2880"/>
              <a:gd name="T3" fmla="*/ 0 h 88"/>
              <a:gd name="T4" fmla="*/ 2880 w 2880"/>
              <a:gd name="T5" fmla="*/ 88 h 88"/>
              <a:gd name="connsiteX0" fmla="*/ 0 w 10007"/>
              <a:gd name="connsiteY0" fmla="*/ 0 h 11311"/>
              <a:gd name="connsiteX1" fmla="*/ 9642 w 10007"/>
              <a:gd name="connsiteY1" fmla="*/ 0 h 11311"/>
              <a:gd name="connsiteX2" fmla="*/ 10007 w 10007"/>
              <a:gd name="connsiteY2" fmla="*/ 11311 h 1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7" h="11311">
                <a:moveTo>
                  <a:pt x="0" y="0"/>
                </a:moveTo>
                <a:lnTo>
                  <a:pt x="9642" y="0"/>
                </a:lnTo>
                <a:cubicBezTo>
                  <a:pt x="9864" y="0"/>
                  <a:pt x="10004" y="7760"/>
                  <a:pt x="10007" y="11311"/>
                </a:cubicBezTo>
              </a:path>
            </a:pathLst>
          </a:custGeom>
          <a:noFill/>
          <a:ln w="19050" cap="flat">
            <a:solidFill>
              <a:schemeClr val="accent5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8836" tIns="54417" rIns="108836" bIns="54417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da-DK" sz="2400" noProof="0"/>
          </a:p>
        </p:txBody>
      </p:sp>
    </p:spTree>
    <p:extLst>
      <p:ext uri="{BB962C8B-B14F-4D97-AF65-F5344CB8AC3E}">
        <p14:creationId xmlns:p14="http://schemas.microsoft.com/office/powerpoint/2010/main" val="34091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sz="3000"/>
            </a:lvl1pPr>
          </a:lstStyle>
          <a:p>
            <a:pPr rtl="0"/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4649" y="1398114"/>
            <a:ext cx="5652390" cy="4351338"/>
          </a:xfrm>
        </p:spPr>
        <p:txBody>
          <a:bodyPr rtlCol="0"/>
          <a:lstStyle/>
          <a:p>
            <a:pPr lvl="0" rtl="0"/>
            <a:r>
              <a:rPr lang="da-DK"/>
              <a:t>Klik for at redigere teksttypografierne i masteren</a:t>
            </a:r>
          </a:p>
          <a:p>
            <a:pPr lvl="1" rtl="0"/>
            <a:r>
              <a:rPr lang="da-DK"/>
              <a:t>Andet niveau</a:t>
            </a:r>
          </a:p>
          <a:p>
            <a:pPr lvl="2" rtl="0"/>
            <a:r>
              <a:rPr lang="da-DK"/>
              <a:t>Tredje niveau</a:t>
            </a:r>
          </a:p>
          <a:p>
            <a:pPr lvl="3" rtl="0"/>
            <a:r>
              <a:rPr lang="da-DK"/>
              <a:t>Fjerde niveau</a:t>
            </a:r>
          </a:p>
          <a:p>
            <a:pPr lvl="4" rtl="0"/>
            <a:r>
              <a:rPr lang="da-DK"/>
              <a:t>Femt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0073" y="1398114"/>
            <a:ext cx="5334000" cy="4351338"/>
          </a:xfrm>
        </p:spPr>
        <p:txBody>
          <a:bodyPr rtlCol="0"/>
          <a:lstStyle/>
          <a:p>
            <a:pPr lvl="0" rtl="0"/>
            <a:r>
              <a:rPr lang="da-DK"/>
              <a:t>Klik for at redigere teksttypografierne i masteren</a:t>
            </a:r>
          </a:p>
          <a:p>
            <a:pPr lvl="1" rtl="0"/>
            <a:r>
              <a:rPr lang="da-DK"/>
              <a:t>Andet niveau</a:t>
            </a:r>
          </a:p>
          <a:p>
            <a:pPr lvl="2" rtl="0"/>
            <a:r>
              <a:rPr lang="da-DK"/>
              <a:t>Tredje niveau</a:t>
            </a:r>
          </a:p>
          <a:p>
            <a:pPr lvl="3" rtl="0"/>
            <a:r>
              <a:rPr lang="da-DK"/>
              <a:t>Fjerde niveau</a:t>
            </a:r>
          </a:p>
          <a:p>
            <a:pPr lvl="4" rtl="0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43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BF098D7-1B64-4AA8-93C1-6299E78AD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8778" y="1304926"/>
            <a:ext cx="3632197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C874B5B-DD23-4F63-8B47-3F0C31F370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900" y="1304925"/>
            <a:ext cx="7551738" cy="4668838"/>
          </a:xfrm>
          <a:solidFill>
            <a:schemeClr val="bg2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C8617BA-0CB2-4FAE-B83F-5509E2B5D10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37833E9-D1BD-42EF-9D7B-970DF7686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10D1230-D2ED-47B8-8B02-B06AF8FCE2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261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134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0" y="5295900"/>
            <a:ext cx="12192000" cy="157881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4" r="150" b="19343"/>
          <a:stretch/>
        </p:blipFill>
        <p:spPr>
          <a:xfrm>
            <a:off x="0" y="0"/>
            <a:ext cx="12192000" cy="5295900"/>
          </a:xfrm>
          <a:prstGeom prst="rect">
            <a:avLst/>
          </a:prstGeom>
        </p:spPr>
      </p:pic>
      <p:sp>
        <p:nvSpPr>
          <p:cNvPr id="51" name="Rectangle 5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sp>
        <p:nvSpPr>
          <p:cNvPr id="28" name="Text Placeholder 6"/>
          <p:cNvSpPr>
            <a:spLocks noGrp="1"/>
          </p:cNvSpPr>
          <p:nvPr userDrawn="1"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rtlCol="0"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 rtl="0"/>
            <a:r>
              <a:rPr lang="da-DK"/>
              <a:t>Click to edit date/place</a:t>
            </a:r>
          </a:p>
        </p:txBody>
      </p:sp>
      <p:sp>
        <p:nvSpPr>
          <p:cNvPr id="29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Subtitle in sentence case</a:t>
            </a:r>
          </a:p>
        </p:txBody>
      </p:sp>
      <p:sp>
        <p:nvSpPr>
          <p:cNvPr id="30" name="Title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Title in Title Case</a:t>
            </a:r>
          </a:p>
        </p:txBody>
      </p:sp>
      <p:pic>
        <p:nvPicPr>
          <p:cNvPr id="241947" name="Picture 283" descr="Billedresultat for klimapartnerskaber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630" y="5567135"/>
            <a:ext cx="2343641" cy="920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640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7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rtlCol="0"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 rtl="0"/>
            <a:r>
              <a:rPr lang="da-DK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Title in Title Case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17415" y="932267"/>
            <a:ext cx="1617396" cy="766671"/>
            <a:chOff x="2895137" y="1059267"/>
            <a:chExt cx="3525692" cy="1671233"/>
          </a:xfrm>
        </p:grpSpPr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3605828" y="1638553"/>
              <a:ext cx="360897" cy="512660"/>
            </a:xfrm>
            <a:custGeom>
              <a:avLst/>
              <a:gdLst>
                <a:gd name="T0" fmla="*/ 69 w 82"/>
                <a:gd name="T1" fmla="*/ 15 h 117"/>
                <a:gd name="T2" fmla="*/ 62 w 82"/>
                <a:gd name="T3" fmla="*/ 10 h 117"/>
                <a:gd name="T4" fmla="*/ 32 w 82"/>
                <a:gd name="T5" fmla="*/ 0 h 117"/>
                <a:gd name="T6" fmla="*/ 0 w 82"/>
                <a:gd name="T7" fmla="*/ 0 h 117"/>
                <a:gd name="T8" fmla="*/ 0 w 82"/>
                <a:gd name="T9" fmla="*/ 59 h 117"/>
                <a:gd name="T10" fmla="*/ 0 w 82"/>
                <a:gd name="T11" fmla="*/ 117 h 117"/>
                <a:gd name="T12" fmla="*/ 32 w 82"/>
                <a:gd name="T13" fmla="*/ 117 h 117"/>
                <a:gd name="T14" fmla="*/ 62 w 82"/>
                <a:gd name="T15" fmla="*/ 107 h 117"/>
                <a:gd name="T16" fmla="*/ 69 w 82"/>
                <a:gd name="T17" fmla="*/ 102 h 117"/>
                <a:gd name="T18" fmla="*/ 74 w 82"/>
                <a:gd name="T19" fmla="*/ 95 h 117"/>
                <a:gd name="T20" fmla="*/ 82 w 82"/>
                <a:gd name="T21" fmla="*/ 66 h 117"/>
                <a:gd name="T22" fmla="*/ 82 w 82"/>
                <a:gd name="T23" fmla="*/ 59 h 117"/>
                <a:gd name="T24" fmla="*/ 82 w 82"/>
                <a:gd name="T25" fmla="*/ 51 h 117"/>
                <a:gd name="T26" fmla="*/ 74 w 82"/>
                <a:gd name="T27" fmla="*/ 22 h 117"/>
                <a:gd name="T28" fmla="*/ 69 w 82"/>
                <a:gd name="T29" fmla="*/ 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17">
                  <a:moveTo>
                    <a:pt x="69" y="15"/>
                  </a:moveTo>
                  <a:cubicBezTo>
                    <a:pt x="67" y="13"/>
                    <a:pt x="65" y="11"/>
                    <a:pt x="62" y="10"/>
                  </a:cubicBezTo>
                  <a:cubicBezTo>
                    <a:pt x="53" y="3"/>
                    <a:pt x="43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43" y="117"/>
                    <a:pt x="53" y="114"/>
                    <a:pt x="62" y="107"/>
                  </a:cubicBezTo>
                  <a:cubicBezTo>
                    <a:pt x="65" y="106"/>
                    <a:pt x="67" y="104"/>
                    <a:pt x="69" y="102"/>
                  </a:cubicBezTo>
                  <a:cubicBezTo>
                    <a:pt x="71" y="100"/>
                    <a:pt x="72" y="97"/>
                    <a:pt x="74" y="95"/>
                  </a:cubicBezTo>
                  <a:cubicBezTo>
                    <a:pt x="79" y="87"/>
                    <a:pt x="82" y="76"/>
                    <a:pt x="82" y="66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41"/>
                    <a:pt x="79" y="30"/>
                    <a:pt x="74" y="22"/>
                  </a:cubicBezTo>
                  <a:cubicBezTo>
                    <a:pt x="72" y="20"/>
                    <a:pt x="71" y="17"/>
                    <a:pt x="69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2895137" y="1059267"/>
              <a:ext cx="167678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75 w 382"/>
                <a:gd name="T11" fmla="*/ 191 h 381"/>
                <a:gd name="T12" fmla="*/ 275 w 382"/>
                <a:gd name="T13" fmla="*/ 198 h 381"/>
                <a:gd name="T14" fmla="*/ 263 w 382"/>
                <a:gd name="T15" fmla="*/ 242 h 381"/>
                <a:gd name="T16" fmla="*/ 255 w 382"/>
                <a:gd name="T17" fmla="*/ 252 h 381"/>
                <a:gd name="T18" fmla="*/ 244 w 382"/>
                <a:gd name="T19" fmla="*/ 262 h 381"/>
                <a:gd name="T20" fmla="*/ 194 w 382"/>
                <a:gd name="T21" fmla="*/ 276 h 381"/>
                <a:gd name="T22" fmla="*/ 162 w 382"/>
                <a:gd name="T23" fmla="*/ 276 h 381"/>
                <a:gd name="T24" fmla="*/ 146 w 382"/>
                <a:gd name="T25" fmla="*/ 276 h 381"/>
                <a:gd name="T26" fmla="*/ 130 w 382"/>
                <a:gd name="T27" fmla="*/ 259 h 381"/>
                <a:gd name="T28" fmla="*/ 130 w 382"/>
                <a:gd name="T29" fmla="*/ 249 h 381"/>
                <a:gd name="T30" fmla="*/ 130 w 382"/>
                <a:gd name="T31" fmla="*/ 191 h 381"/>
                <a:gd name="T32" fmla="*/ 130 w 382"/>
                <a:gd name="T33" fmla="*/ 132 h 381"/>
                <a:gd name="T34" fmla="*/ 130 w 382"/>
                <a:gd name="T35" fmla="*/ 122 h 381"/>
                <a:gd name="T36" fmla="*/ 146 w 382"/>
                <a:gd name="T37" fmla="*/ 105 h 381"/>
                <a:gd name="T38" fmla="*/ 162 w 382"/>
                <a:gd name="T39" fmla="*/ 105 h 381"/>
                <a:gd name="T40" fmla="*/ 194 w 382"/>
                <a:gd name="T41" fmla="*/ 105 h 381"/>
                <a:gd name="T42" fmla="*/ 244 w 382"/>
                <a:gd name="T43" fmla="*/ 120 h 381"/>
                <a:gd name="T44" fmla="*/ 255 w 382"/>
                <a:gd name="T45" fmla="*/ 129 h 381"/>
                <a:gd name="T46" fmla="*/ 263 w 382"/>
                <a:gd name="T47" fmla="*/ 139 h 381"/>
                <a:gd name="T48" fmla="*/ 275 w 382"/>
                <a:gd name="T49" fmla="*/ 183 h 381"/>
                <a:gd name="T50" fmla="*/ 275 w 382"/>
                <a:gd name="T51" fmla="*/ 19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6" y="0"/>
                    <a:pt x="0" y="85"/>
                    <a:pt x="0" y="191"/>
                  </a:cubicBezTo>
                  <a:cubicBezTo>
                    <a:pt x="0" y="296"/>
                    <a:pt x="86" y="381"/>
                    <a:pt x="191" y="381"/>
                  </a:cubicBezTo>
                  <a:cubicBezTo>
                    <a:pt x="297" y="381"/>
                    <a:pt x="382" y="296"/>
                    <a:pt x="382" y="191"/>
                  </a:cubicBezTo>
                  <a:cubicBezTo>
                    <a:pt x="382" y="85"/>
                    <a:pt x="297" y="0"/>
                    <a:pt x="191" y="0"/>
                  </a:cubicBezTo>
                  <a:close/>
                  <a:moveTo>
                    <a:pt x="275" y="191"/>
                  </a:moveTo>
                  <a:cubicBezTo>
                    <a:pt x="275" y="198"/>
                    <a:pt x="275" y="198"/>
                    <a:pt x="275" y="198"/>
                  </a:cubicBezTo>
                  <a:cubicBezTo>
                    <a:pt x="275" y="214"/>
                    <a:pt x="271" y="229"/>
                    <a:pt x="263" y="242"/>
                  </a:cubicBezTo>
                  <a:cubicBezTo>
                    <a:pt x="260" y="246"/>
                    <a:pt x="258" y="249"/>
                    <a:pt x="255" y="252"/>
                  </a:cubicBezTo>
                  <a:cubicBezTo>
                    <a:pt x="251" y="256"/>
                    <a:pt x="248" y="259"/>
                    <a:pt x="244" y="262"/>
                  </a:cubicBezTo>
                  <a:cubicBezTo>
                    <a:pt x="231" y="271"/>
                    <a:pt x="211" y="276"/>
                    <a:pt x="194" y="276"/>
                  </a:cubicBezTo>
                  <a:cubicBezTo>
                    <a:pt x="162" y="276"/>
                    <a:pt x="162" y="276"/>
                    <a:pt x="162" y="276"/>
                  </a:cubicBezTo>
                  <a:cubicBezTo>
                    <a:pt x="146" y="276"/>
                    <a:pt x="146" y="276"/>
                    <a:pt x="146" y="276"/>
                  </a:cubicBezTo>
                  <a:cubicBezTo>
                    <a:pt x="137" y="276"/>
                    <a:pt x="130" y="268"/>
                    <a:pt x="130" y="259"/>
                  </a:cubicBezTo>
                  <a:cubicBezTo>
                    <a:pt x="130" y="249"/>
                    <a:pt x="130" y="249"/>
                    <a:pt x="130" y="249"/>
                  </a:cubicBezTo>
                  <a:cubicBezTo>
                    <a:pt x="130" y="191"/>
                    <a:pt x="130" y="191"/>
                    <a:pt x="130" y="191"/>
                  </a:cubicBezTo>
                  <a:cubicBezTo>
                    <a:pt x="130" y="132"/>
                    <a:pt x="130" y="132"/>
                    <a:pt x="130" y="132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0" y="113"/>
                    <a:pt x="137" y="105"/>
                    <a:pt x="146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94" y="105"/>
                    <a:pt x="194" y="105"/>
                    <a:pt x="194" y="105"/>
                  </a:cubicBezTo>
                  <a:cubicBezTo>
                    <a:pt x="211" y="105"/>
                    <a:pt x="231" y="110"/>
                    <a:pt x="244" y="120"/>
                  </a:cubicBezTo>
                  <a:cubicBezTo>
                    <a:pt x="248" y="122"/>
                    <a:pt x="251" y="125"/>
                    <a:pt x="255" y="129"/>
                  </a:cubicBezTo>
                  <a:cubicBezTo>
                    <a:pt x="258" y="132"/>
                    <a:pt x="260" y="135"/>
                    <a:pt x="263" y="139"/>
                  </a:cubicBezTo>
                  <a:cubicBezTo>
                    <a:pt x="271" y="152"/>
                    <a:pt x="275" y="167"/>
                    <a:pt x="275" y="183"/>
                  </a:cubicBezTo>
                  <a:lnTo>
                    <a:pt x="275" y="1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4742193" y="1059267"/>
              <a:ext cx="167863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07 w 382"/>
                <a:gd name="T11" fmla="*/ 260 h 381"/>
                <a:gd name="T12" fmla="*/ 191 w 382"/>
                <a:gd name="T13" fmla="*/ 276 h 381"/>
                <a:gd name="T14" fmla="*/ 174 w 382"/>
                <a:gd name="T15" fmla="*/ 260 h 381"/>
                <a:gd name="T16" fmla="*/ 174 w 382"/>
                <a:gd name="T17" fmla="*/ 121 h 381"/>
                <a:gd name="T18" fmla="*/ 191 w 382"/>
                <a:gd name="T19" fmla="*/ 105 h 381"/>
                <a:gd name="T20" fmla="*/ 207 w 382"/>
                <a:gd name="T21" fmla="*/ 121 h 381"/>
                <a:gd name="T22" fmla="*/ 207 w 382"/>
                <a:gd name="T23" fmla="*/ 26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5" y="0"/>
                    <a:pt x="0" y="85"/>
                    <a:pt x="0" y="191"/>
                  </a:cubicBezTo>
                  <a:cubicBezTo>
                    <a:pt x="0" y="296"/>
                    <a:pt x="85" y="381"/>
                    <a:pt x="191" y="381"/>
                  </a:cubicBezTo>
                  <a:cubicBezTo>
                    <a:pt x="296" y="381"/>
                    <a:pt x="382" y="296"/>
                    <a:pt x="382" y="191"/>
                  </a:cubicBezTo>
                  <a:cubicBezTo>
                    <a:pt x="382" y="85"/>
                    <a:pt x="296" y="0"/>
                    <a:pt x="191" y="0"/>
                  </a:cubicBezTo>
                  <a:close/>
                  <a:moveTo>
                    <a:pt x="207" y="260"/>
                  </a:moveTo>
                  <a:cubicBezTo>
                    <a:pt x="207" y="269"/>
                    <a:pt x="200" y="276"/>
                    <a:pt x="191" y="276"/>
                  </a:cubicBezTo>
                  <a:cubicBezTo>
                    <a:pt x="182" y="276"/>
                    <a:pt x="174" y="269"/>
                    <a:pt x="174" y="260"/>
                  </a:cubicBezTo>
                  <a:cubicBezTo>
                    <a:pt x="174" y="121"/>
                    <a:pt x="174" y="121"/>
                    <a:pt x="174" y="121"/>
                  </a:cubicBezTo>
                  <a:cubicBezTo>
                    <a:pt x="174" y="112"/>
                    <a:pt x="182" y="105"/>
                    <a:pt x="191" y="105"/>
                  </a:cubicBezTo>
                  <a:cubicBezTo>
                    <a:pt x="200" y="105"/>
                    <a:pt x="207" y="112"/>
                    <a:pt x="207" y="121"/>
                  </a:cubicBezTo>
                  <a:lnTo>
                    <a:pt x="207" y="260"/>
                  </a:lnTo>
                  <a:close/>
                </a:path>
              </a:pathLst>
            </a:custGeom>
            <a:solidFill>
              <a:srgbClr val="FFFFFF">
                <a:alpha val="59000"/>
              </a:srgbClr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276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3967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da-DK" sz="28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60314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949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rtlCol="0"/>
          <a:lstStyle>
            <a:lvl1pPr>
              <a:defRPr sz="3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  <a:prstGeom prst="rect">
            <a:avLst/>
          </a:prstGeom>
        </p:spPr>
        <p:txBody>
          <a:bodyPr rtlCol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 rtl="0"/>
            <a:r>
              <a:rPr lang="da-DK"/>
              <a:t>Edit Master text styles</a:t>
            </a:r>
          </a:p>
          <a:p>
            <a:pPr lvl="1" rtl="0"/>
            <a:r>
              <a:rPr lang="da-DK"/>
              <a:t>Second level</a:t>
            </a:r>
          </a:p>
          <a:p>
            <a:pPr lvl="2" rtl="0"/>
            <a:r>
              <a:rPr lang="da-DK"/>
              <a:t>Third level</a:t>
            </a:r>
          </a:p>
          <a:p>
            <a:pPr lvl="3" rtl="0"/>
            <a:r>
              <a:rPr lang="da-DK"/>
              <a:t>Fourth level</a:t>
            </a:r>
          </a:p>
          <a:p>
            <a:pPr lvl="4" rtl="0"/>
            <a:r>
              <a:rPr lang="da-DK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907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4770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rtlCol="0" anchor="b">
            <a:noAutofit/>
          </a:bodyPr>
          <a:lstStyle>
            <a:lvl1pPr>
              <a:defRPr sz="32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459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547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rtlCol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40104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679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32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2959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7555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0683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52300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31DD2-B7BB-40B4-9BB7-25DD710726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360001"/>
            <a:ext cx="5592762" cy="7655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38874" y="0"/>
            <a:ext cx="5953125" cy="6154738"/>
          </a:xfrm>
          <a:solidFill>
            <a:schemeClr val="bg2"/>
          </a:solidFill>
        </p:spPr>
        <p:txBody>
          <a:bodyPr tIns="324000"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Klik på ikonet for at tilføje et billede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9EA4B4A-2AF2-40C9-ABC7-50C99AEE95E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58776" y="1304925"/>
            <a:ext cx="5592762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610FDB-9204-4F6E-A82D-52FC364F9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4EDFFAA-4C4D-4302-BB38-27E012A1AB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8015097-D6A2-485A-96A7-6F6B90E6D2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7226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26018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 rtlCol="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r>
              <a:rPr lang="da-DK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rtlCol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17018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 rtlCol="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r>
              <a:rPr lang="da-DK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3265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9978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3200" baseline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6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rtlCol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3276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852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4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 b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29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3365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252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694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8523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263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58307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C96E2B6B-DCCB-4B28-A789-3148F7EFE733}"/>
              </a:ext>
            </a:extLst>
          </p:cNvPr>
          <p:cNvSpPr/>
          <p:nvPr userDrawn="1"/>
        </p:nvSpPr>
        <p:spPr>
          <a:xfrm>
            <a:off x="1063" y="0"/>
            <a:ext cx="12190938" cy="6172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457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810AC4A-B76B-4C0B-8943-044B614CCDE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5951538" cy="6156000"/>
          </a:xfrm>
          <a:solidFill>
            <a:schemeClr val="tx2"/>
          </a:solidFill>
        </p:spPr>
        <p:txBody>
          <a:bodyPr tIns="324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for at tilføje et billed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38875" y="358776"/>
            <a:ext cx="5592763" cy="1757016"/>
          </a:xfrm>
          <a:prstGeom prst="rect">
            <a:avLst/>
          </a:prstGeom>
          <a:ln w="57150">
            <a:noFill/>
            <a:miter lim="800000"/>
          </a:ln>
        </p:spPr>
        <p:txBody>
          <a:bodyPr lIns="0" tIns="0" rIns="0" bIns="0" anchor="t" anchorCtr="0">
            <a:noAutofit/>
          </a:bodyPr>
          <a:lstStyle>
            <a:lvl1pPr algn="l"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 in maximum three line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731E0EE-3B1A-4748-9EA6-2A00208A3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4" y="2115791"/>
            <a:ext cx="5592764" cy="3857972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text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BF87C3-0397-4BAF-8705-99146C76BB6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231DBB0-72CE-4599-95E2-95A131125A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F05CCB2-6F48-4D53-88A7-210D1E2555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4915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5019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1342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39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 w="1079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0449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2121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575757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77916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rtlCol="0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56905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6412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20949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00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84449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25" b="7216"/>
          <a:stretch/>
        </p:blipFill>
        <p:spPr>
          <a:xfrm flipH="1">
            <a:off x="0" y="-18854"/>
            <a:ext cx="12192000" cy="6881567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FFFFFF">
              <a:alpha val="79000"/>
            </a:srgbClr>
          </a:soli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1276" y="2027867"/>
            <a:ext cx="6944521" cy="3400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43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481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014220" y="2594978"/>
            <a:ext cx="3358634" cy="1592045"/>
            <a:chOff x="2895137" y="1059267"/>
            <a:chExt cx="3525692" cy="1671233"/>
          </a:xfrm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3605828" y="1638553"/>
              <a:ext cx="360897" cy="512660"/>
            </a:xfrm>
            <a:custGeom>
              <a:avLst/>
              <a:gdLst>
                <a:gd name="T0" fmla="*/ 69 w 82"/>
                <a:gd name="T1" fmla="*/ 15 h 117"/>
                <a:gd name="T2" fmla="*/ 62 w 82"/>
                <a:gd name="T3" fmla="*/ 10 h 117"/>
                <a:gd name="T4" fmla="*/ 32 w 82"/>
                <a:gd name="T5" fmla="*/ 0 h 117"/>
                <a:gd name="T6" fmla="*/ 0 w 82"/>
                <a:gd name="T7" fmla="*/ 0 h 117"/>
                <a:gd name="T8" fmla="*/ 0 w 82"/>
                <a:gd name="T9" fmla="*/ 59 h 117"/>
                <a:gd name="T10" fmla="*/ 0 w 82"/>
                <a:gd name="T11" fmla="*/ 117 h 117"/>
                <a:gd name="T12" fmla="*/ 32 w 82"/>
                <a:gd name="T13" fmla="*/ 117 h 117"/>
                <a:gd name="T14" fmla="*/ 62 w 82"/>
                <a:gd name="T15" fmla="*/ 107 h 117"/>
                <a:gd name="T16" fmla="*/ 69 w 82"/>
                <a:gd name="T17" fmla="*/ 102 h 117"/>
                <a:gd name="T18" fmla="*/ 74 w 82"/>
                <a:gd name="T19" fmla="*/ 95 h 117"/>
                <a:gd name="T20" fmla="*/ 82 w 82"/>
                <a:gd name="T21" fmla="*/ 66 h 117"/>
                <a:gd name="T22" fmla="*/ 82 w 82"/>
                <a:gd name="T23" fmla="*/ 59 h 117"/>
                <a:gd name="T24" fmla="*/ 82 w 82"/>
                <a:gd name="T25" fmla="*/ 51 h 117"/>
                <a:gd name="T26" fmla="*/ 74 w 82"/>
                <a:gd name="T27" fmla="*/ 22 h 117"/>
                <a:gd name="T28" fmla="*/ 69 w 82"/>
                <a:gd name="T29" fmla="*/ 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17">
                  <a:moveTo>
                    <a:pt x="69" y="15"/>
                  </a:moveTo>
                  <a:cubicBezTo>
                    <a:pt x="67" y="13"/>
                    <a:pt x="65" y="11"/>
                    <a:pt x="62" y="10"/>
                  </a:cubicBezTo>
                  <a:cubicBezTo>
                    <a:pt x="53" y="3"/>
                    <a:pt x="43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43" y="117"/>
                    <a:pt x="53" y="114"/>
                    <a:pt x="62" y="107"/>
                  </a:cubicBezTo>
                  <a:cubicBezTo>
                    <a:pt x="65" y="106"/>
                    <a:pt x="67" y="104"/>
                    <a:pt x="69" y="102"/>
                  </a:cubicBezTo>
                  <a:cubicBezTo>
                    <a:pt x="71" y="100"/>
                    <a:pt x="72" y="97"/>
                    <a:pt x="74" y="95"/>
                  </a:cubicBezTo>
                  <a:cubicBezTo>
                    <a:pt x="79" y="87"/>
                    <a:pt x="82" y="76"/>
                    <a:pt x="82" y="66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41"/>
                    <a:pt x="79" y="30"/>
                    <a:pt x="74" y="22"/>
                  </a:cubicBezTo>
                  <a:cubicBezTo>
                    <a:pt x="72" y="20"/>
                    <a:pt x="71" y="17"/>
                    <a:pt x="69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2895137" y="1059267"/>
              <a:ext cx="167678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75 w 382"/>
                <a:gd name="T11" fmla="*/ 191 h 381"/>
                <a:gd name="T12" fmla="*/ 275 w 382"/>
                <a:gd name="T13" fmla="*/ 198 h 381"/>
                <a:gd name="T14" fmla="*/ 263 w 382"/>
                <a:gd name="T15" fmla="*/ 242 h 381"/>
                <a:gd name="T16" fmla="*/ 255 w 382"/>
                <a:gd name="T17" fmla="*/ 252 h 381"/>
                <a:gd name="T18" fmla="*/ 244 w 382"/>
                <a:gd name="T19" fmla="*/ 262 h 381"/>
                <a:gd name="T20" fmla="*/ 194 w 382"/>
                <a:gd name="T21" fmla="*/ 276 h 381"/>
                <a:gd name="T22" fmla="*/ 162 w 382"/>
                <a:gd name="T23" fmla="*/ 276 h 381"/>
                <a:gd name="T24" fmla="*/ 146 w 382"/>
                <a:gd name="T25" fmla="*/ 276 h 381"/>
                <a:gd name="T26" fmla="*/ 130 w 382"/>
                <a:gd name="T27" fmla="*/ 259 h 381"/>
                <a:gd name="T28" fmla="*/ 130 w 382"/>
                <a:gd name="T29" fmla="*/ 249 h 381"/>
                <a:gd name="T30" fmla="*/ 130 w 382"/>
                <a:gd name="T31" fmla="*/ 191 h 381"/>
                <a:gd name="T32" fmla="*/ 130 w 382"/>
                <a:gd name="T33" fmla="*/ 132 h 381"/>
                <a:gd name="T34" fmla="*/ 130 w 382"/>
                <a:gd name="T35" fmla="*/ 122 h 381"/>
                <a:gd name="T36" fmla="*/ 146 w 382"/>
                <a:gd name="T37" fmla="*/ 105 h 381"/>
                <a:gd name="T38" fmla="*/ 162 w 382"/>
                <a:gd name="T39" fmla="*/ 105 h 381"/>
                <a:gd name="T40" fmla="*/ 194 w 382"/>
                <a:gd name="T41" fmla="*/ 105 h 381"/>
                <a:gd name="T42" fmla="*/ 244 w 382"/>
                <a:gd name="T43" fmla="*/ 120 h 381"/>
                <a:gd name="T44" fmla="*/ 255 w 382"/>
                <a:gd name="T45" fmla="*/ 129 h 381"/>
                <a:gd name="T46" fmla="*/ 263 w 382"/>
                <a:gd name="T47" fmla="*/ 139 h 381"/>
                <a:gd name="T48" fmla="*/ 275 w 382"/>
                <a:gd name="T49" fmla="*/ 183 h 381"/>
                <a:gd name="T50" fmla="*/ 275 w 382"/>
                <a:gd name="T51" fmla="*/ 19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6" y="0"/>
                    <a:pt x="0" y="85"/>
                    <a:pt x="0" y="191"/>
                  </a:cubicBezTo>
                  <a:cubicBezTo>
                    <a:pt x="0" y="296"/>
                    <a:pt x="86" y="381"/>
                    <a:pt x="191" y="381"/>
                  </a:cubicBezTo>
                  <a:cubicBezTo>
                    <a:pt x="297" y="381"/>
                    <a:pt x="382" y="296"/>
                    <a:pt x="382" y="191"/>
                  </a:cubicBezTo>
                  <a:cubicBezTo>
                    <a:pt x="382" y="85"/>
                    <a:pt x="297" y="0"/>
                    <a:pt x="191" y="0"/>
                  </a:cubicBezTo>
                  <a:close/>
                  <a:moveTo>
                    <a:pt x="275" y="191"/>
                  </a:moveTo>
                  <a:cubicBezTo>
                    <a:pt x="275" y="198"/>
                    <a:pt x="275" y="198"/>
                    <a:pt x="275" y="198"/>
                  </a:cubicBezTo>
                  <a:cubicBezTo>
                    <a:pt x="275" y="214"/>
                    <a:pt x="271" y="229"/>
                    <a:pt x="263" y="242"/>
                  </a:cubicBezTo>
                  <a:cubicBezTo>
                    <a:pt x="260" y="246"/>
                    <a:pt x="258" y="249"/>
                    <a:pt x="255" y="252"/>
                  </a:cubicBezTo>
                  <a:cubicBezTo>
                    <a:pt x="251" y="256"/>
                    <a:pt x="248" y="259"/>
                    <a:pt x="244" y="262"/>
                  </a:cubicBezTo>
                  <a:cubicBezTo>
                    <a:pt x="231" y="271"/>
                    <a:pt x="211" y="276"/>
                    <a:pt x="194" y="276"/>
                  </a:cubicBezTo>
                  <a:cubicBezTo>
                    <a:pt x="162" y="276"/>
                    <a:pt x="162" y="276"/>
                    <a:pt x="162" y="276"/>
                  </a:cubicBezTo>
                  <a:cubicBezTo>
                    <a:pt x="146" y="276"/>
                    <a:pt x="146" y="276"/>
                    <a:pt x="146" y="276"/>
                  </a:cubicBezTo>
                  <a:cubicBezTo>
                    <a:pt x="137" y="276"/>
                    <a:pt x="130" y="268"/>
                    <a:pt x="130" y="259"/>
                  </a:cubicBezTo>
                  <a:cubicBezTo>
                    <a:pt x="130" y="249"/>
                    <a:pt x="130" y="249"/>
                    <a:pt x="130" y="249"/>
                  </a:cubicBezTo>
                  <a:cubicBezTo>
                    <a:pt x="130" y="191"/>
                    <a:pt x="130" y="191"/>
                    <a:pt x="130" y="191"/>
                  </a:cubicBezTo>
                  <a:cubicBezTo>
                    <a:pt x="130" y="132"/>
                    <a:pt x="130" y="132"/>
                    <a:pt x="130" y="132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0" y="113"/>
                    <a:pt x="137" y="105"/>
                    <a:pt x="146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94" y="105"/>
                    <a:pt x="194" y="105"/>
                    <a:pt x="194" y="105"/>
                  </a:cubicBezTo>
                  <a:cubicBezTo>
                    <a:pt x="211" y="105"/>
                    <a:pt x="231" y="110"/>
                    <a:pt x="244" y="120"/>
                  </a:cubicBezTo>
                  <a:cubicBezTo>
                    <a:pt x="248" y="122"/>
                    <a:pt x="251" y="125"/>
                    <a:pt x="255" y="129"/>
                  </a:cubicBezTo>
                  <a:cubicBezTo>
                    <a:pt x="258" y="132"/>
                    <a:pt x="260" y="135"/>
                    <a:pt x="263" y="139"/>
                  </a:cubicBezTo>
                  <a:cubicBezTo>
                    <a:pt x="271" y="152"/>
                    <a:pt x="275" y="167"/>
                    <a:pt x="275" y="183"/>
                  </a:cubicBezTo>
                  <a:lnTo>
                    <a:pt x="275" y="1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4742193" y="1059267"/>
              <a:ext cx="167863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07 w 382"/>
                <a:gd name="T11" fmla="*/ 260 h 381"/>
                <a:gd name="T12" fmla="*/ 191 w 382"/>
                <a:gd name="T13" fmla="*/ 276 h 381"/>
                <a:gd name="T14" fmla="*/ 174 w 382"/>
                <a:gd name="T15" fmla="*/ 260 h 381"/>
                <a:gd name="T16" fmla="*/ 174 w 382"/>
                <a:gd name="T17" fmla="*/ 121 h 381"/>
                <a:gd name="T18" fmla="*/ 191 w 382"/>
                <a:gd name="T19" fmla="*/ 105 h 381"/>
                <a:gd name="T20" fmla="*/ 207 w 382"/>
                <a:gd name="T21" fmla="*/ 121 h 381"/>
                <a:gd name="T22" fmla="*/ 207 w 382"/>
                <a:gd name="T23" fmla="*/ 26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5" y="0"/>
                    <a:pt x="0" y="85"/>
                    <a:pt x="0" y="191"/>
                  </a:cubicBezTo>
                  <a:cubicBezTo>
                    <a:pt x="0" y="296"/>
                    <a:pt x="85" y="381"/>
                    <a:pt x="191" y="381"/>
                  </a:cubicBezTo>
                  <a:cubicBezTo>
                    <a:pt x="296" y="381"/>
                    <a:pt x="382" y="296"/>
                    <a:pt x="382" y="191"/>
                  </a:cubicBezTo>
                  <a:cubicBezTo>
                    <a:pt x="382" y="85"/>
                    <a:pt x="296" y="0"/>
                    <a:pt x="191" y="0"/>
                  </a:cubicBezTo>
                  <a:close/>
                  <a:moveTo>
                    <a:pt x="207" y="260"/>
                  </a:moveTo>
                  <a:cubicBezTo>
                    <a:pt x="207" y="269"/>
                    <a:pt x="200" y="276"/>
                    <a:pt x="191" y="276"/>
                  </a:cubicBezTo>
                  <a:cubicBezTo>
                    <a:pt x="182" y="276"/>
                    <a:pt x="174" y="269"/>
                    <a:pt x="174" y="260"/>
                  </a:cubicBezTo>
                  <a:cubicBezTo>
                    <a:pt x="174" y="121"/>
                    <a:pt x="174" y="121"/>
                    <a:pt x="174" y="121"/>
                  </a:cubicBezTo>
                  <a:cubicBezTo>
                    <a:pt x="174" y="112"/>
                    <a:pt x="182" y="105"/>
                    <a:pt x="191" y="105"/>
                  </a:cubicBezTo>
                  <a:cubicBezTo>
                    <a:pt x="200" y="105"/>
                    <a:pt x="207" y="112"/>
                    <a:pt x="207" y="121"/>
                  </a:cubicBezTo>
                  <a:lnTo>
                    <a:pt x="207" y="260"/>
                  </a:lnTo>
                  <a:close/>
                </a:path>
              </a:pathLst>
            </a:custGeom>
            <a:solidFill>
              <a:srgbClr val="FFFFFF">
                <a:alpha val="59000"/>
              </a:srgbClr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714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263D2EC-74A3-4887-A62E-9D87B7773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9376C0-52C1-4F88-8D47-CB172471D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F42028-72F2-4EAA-A2BA-2525B99E7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32723A3-CE3E-4678-9EB0-0EFC08430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5737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6935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95900"/>
            <a:ext cx="12192000" cy="157881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4" r="150" b="19343"/>
          <a:stretch/>
        </p:blipFill>
        <p:spPr>
          <a:xfrm>
            <a:off x="0" y="0"/>
            <a:ext cx="12192000" cy="52959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rtlCol="0"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 rtl="0"/>
            <a:r>
              <a:rPr lang="da-DK"/>
              <a:t>Click to edit date/plac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Subtitle in sentence case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Title in Title Case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17415" y="932267"/>
            <a:ext cx="1617396" cy="766671"/>
            <a:chOff x="2895137" y="1059267"/>
            <a:chExt cx="3525692" cy="1671233"/>
          </a:xfrm>
        </p:grpSpPr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3605828" y="1638553"/>
              <a:ext cx="360897" cy="512660"/>
            </a:xfrm>
            <a:custGeom>
              <a:avLst/>
              <a:gdLst>
                <a:gd name="T0" fmla="*/ 69 w 82"/>
                <a:gd name="T1" fmla="*/ 15 h 117"/>
                <a:gd name="T2" fmla="*/ 62 w 82"/>
                <a:gd name="T3" fmla="*/ 10 h 117"/>
                <a:gd name="T4" fmla="*/ 32 w 82"/>
                <a:gd name="T5" fmla="*/ 0 h 117"/>
                <a:gd name="T6" fmla="*/ 0 w 82"/>
                <a:gd name="T7" fmla="*/ 0 h 117"/>
                <a:gd name="T8" fmla="*/ 0 w 82"/>
                <a:gd name="T9" fmla="*/ 59 h 117"/>
                <a:gd name="T10" fmla="*/ 0 w 82"/>
                <a:gd name="T11" fmla="*/ 117 h 117"/>
                <a:gd name="T12" fmla="*/ 32 w 82"/>
                <a:gd name="T13" fmla="*/ 117 h 117"/>
                <a:gd name="T14" fmla="*/ 62 w 82"/>
                <a:gd name="T15" fmla="*/ 107 h 117"/>
                <a:gd name="T16" fmla="*/ 69 w 82"/>
                <a:gd name="T17" fmla="*/ 102 h 117"/>
                <a:gd name="T18" fmla="*/ 74 w 82"/>
                <a:gd name="T19" fmla="*/ 95 h 117"/>
                <a:gd name="T20" fmla="*/ 82 w 82"/>
                <a:gd name="T21" fmla="*/ 66 h 117"/>
                <a:gd name="T22" fmla="*/ 82 w 82"/>
                <a:gd name="T23" fmla="*/ 59 h 117"/>
                <a:gd name="T24" fmla="*/ 82 w 82"/>
                <a:gd name="T25" fmla="*/ 51 h 117"/>
                <a:gd name="T26" fmla="*/ 74 w 82"/>
                <a:gd name="T27" fmla="*/ 22 h 117"/>
                <a:gd name="T28" fmla="*/ 69 w 82"/>
                <a:gd name="T29" fmla="*/ 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17">
                  <a:moveTo>
                    <a:pt x="69" y="15"/>
                  </a:moveTo>
                  <a:cubicBezTo>
                    <a:pt x="67" y="13"/>
                    <a:pt x="65" y="11"/>
                    <a:pt x="62" y="10"/>
                  </a:cubicBezTo>
                  <a:cubicBezTo>
                    <a:pt x="53" y="3"/>
                    <a:pt x="43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43" y="117"/>
                    <a:pt x="53" y="114"/>
                    <a:pt x="62" y="107"/>
                  </a:cubicBezTo>
                  <a:cubicBezTo>
                    <a:pt x="65" y="106"/>
                    <a:pt x="67" y="104"/>
                    <a:pt x="69" y="102"/>
                  </a:cubicBezTo>
                  <a:cubicBezTo>
                    <a:pt x="71" y="100"/>
                    <a:pt x="72" y="97"/>
                    <a:pt x="74" y="95"/>
                  </a:cubicBezTo>
                  <a:cubicBezTo>
                    <a:pt x="79" y="87"/>
                    <a:pt x="82" y="76"/>
                    <a:pt x="82" y="66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41"/>
                    <a:pt x="79" y="30"/>
                    <a:pt x="74" y="22"/>
                  </a:cubicBezTo>
                  <a:cubicBezTo>
                    <a:pt x="72" y="20"/>
                    <a:pt x="71" y="17"/>
                    <a:pt x="69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2895137" y="1059267"/>
              <a:ext cx="167678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75 w 382"/>
                <a:gd name="T11" fmla="*/ 191 h 381"/>
                <a:gd name="T12" fmla="*/ 275 w 382"/>
                <a:gd name="T13" fmla="*/ 198 h 381"/>
                <a:gd name="T14" fmla="*/ 263 w 382"/>
                <a:gd name="T15" fmla="*/ 242 h 381"/>
                <a:gd name="T16" fmla="*/ 255 w 382"/>
                <a:gd name="T17" fmla="*/ 252 h 381"/>
                <a:gd name="T18" fmla="*/ 244 w 382"/>
                <a:gd name="T19" fmla="*/ 262 h 381"/>
                <a:gd name="T20" fmla="*/ 194 w 382"/>
                <a:gd name="T21" fmla="*/ 276 h 381"/>
                <a:gd name="T22" fmla="*/ 162 w 382"/>
                <a:gd name="T23" fmla="*/ 276 h 381"/>
                <a:gd name="T24" fmla="*/ 146 w 382"/>
                <a:gd name="T25" fmla="*/ 276 h 381"/>
                <a:gd name="T26" fmla="*/ 130 w 382"/>
                <a:gd name="T27" fmla="*/ 259 h 381"/>
                <a:gd name="T28" fmla="*/ 130 w 382"/>
                <a:gd name="T29" fmla="*/ 249 h 381"/>
                <a:gd name="T30" fmla="*/ 130 w 382"/>
                <a:gd name="T31" fmla="*/ 191 h 381"/>
                <a:gd name="T32" fmla="*/ 130 w 382"/>
                <a:gd name="T33" fmla="*/ 132 h 381"/>
                <a:gd name="T34" fmla="*/ 130 w 382"/>
                <a:gd name="T35" fmla="*/ 122 h 381"/>
                <a:gd name="T36" fmla="*/ 146 w 382"/>
                <a:gd name="T37" fmla="*/ 105 h 381"/>
                <a:gd name="T38" fmla="*/ 162 w 382"/>
                <a:gd name="T39" fmla="*/ 105 h 381"/>
                <a:gd name="T40" fmla="*/ 194 w 382"/>
                <a:gd name="T41" fmla="*/ 105 h 381"/>
                <a:gd name="T42" fmla="*/ 244 w 382"/>
                <a:gd name="T43" fmla="*/ 120 h 381"/>
                <a:gd name="T44" fmla="*/ 255 w 382"/>
                <a:gd name="T45" fmla="*/ 129 h 381"/>
                <a:gd name="T46" fmla="*/ 263 w 382"/>
                <a:gd name="T47" fmla="*/ 139 h 381"/>
                <a:gd name="T48" fmla="*/ 275 w 382"/>
                <a:gd name="T49" fmla="*/ 183 h 381"/>
                <a:gd name="T50" fmla="*/ 275 w 382"/>
                <a:gd name="T51" fmla="*/ 19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6" y="0"/>
                    <a:pt x="0" y="85"/>
                    <a:pt x="0" y="191"/>
                  </a:cubicBezTo>
                  <a:cubicBezTo>
                    <a:pt x="0" y="296"/>
                    <a:pt x="86" y="381"/>
                    <a:pt x="191" y="381"/>
                  </a:cubicBezTo>
                  <a:cubicBezTo>
                    <a:pt x="297" y="381"/>
                    <a:pt x="382" y="296"/>
                    <a:pt x="382" y="191"/>
                  </a:cubicBezTo>
                  <a:cubicBezTo>
                    <a:pt x="382" y="85"/>
                    <a:pt x="297" y="0"/>
                    <a:pt x="191" y="0"/>
                  </a:cubicBezTo>
                  <a:close/>
                  <a:moveTo>
                    <a:pt x="275" y="191"/>
                  </a:moveTo>
                  <a:cubicBezTo>
                    <a:pt x="275" y="198"/>
                    <a:pt x="275" y="198"/>
                    <a:pt x="275" y="198"/>
                  </a:cubicBezTo>
                  <a:cubicBezTo>
                    <a:pt x="275" y="214"/>
                    <a:pt x="271" y="229"/>
                    <a:pt x="263" y="242"/>
                  </a:cubicBezTo>
                  <a:cubicBezTo>
                    <a:pt x="260" y="246"/>
                    <a:pt x="258" y="249"/>
                    <a:pt x="255" y="252"/>
                  </a:cubicBezTo>
                  <a:cubicBezTo>
                    <a:pt x="251" y="256"/>
                    <a:pt x="248" y="259"/>
                    <a:pt x="244" y="262"/>
                  </a:cubicBezTo>
                  <a:cubicBezTo>
                    <a:pt x="231" y="271"/>
                    <a:pt x="211" y="276"/>
                    <a:pt x="194" y="276"/>
                  </a:cubicBezTo>
                  <a:cubicBezTo>
                    <a:pt x="162" y="276"/>
                    <a:pt x="162" y="276"/>
                    <a:pt x="162" y="276"/>
                  </a:cubicBezTo>
                  <a:cubicBezTo>
                    <a:pt x="146" y="276"/>
                    <a:pt x="146" y="276"/>
                    <a:pt x="146" y="276"/>
                  </a:cubicBezTo>
                  <a:cubicBezTo>
                    <a:pt x="137" y="276"/>
                    <a:pt x="130" y="268"/>
                    <a:pt x="130" y="259"/>
                  </a:cubicBezTo>
                  <a:cubicBezTo>
                    <a:pt x="130" y="249"/>
                    <a:pt x="130" y="249"/>
                    <a:pt x="130" y="249"/>
                  </a:cubicBezTo>
                  <a:cubicBezTo>
                    <a:pt x="130" y="191"/>
                    <a:pt x="130" y="191"/>
                    <a:pt x="130" y="191"/>
                  </a:cubicBezTo>
                  <a:cubicBezTo>
                    <a:pt x="130" y="132"/>
                    <a:pt x="130" y="132"/>
                    <a:pt x="130" y="132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0" y="113"/>
                    <a:pt x="137" y="105"/>
                    <a:pt x="146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94" y="105"/>
                    <a:pt x="194" y="105"/>
                    <a:pt x="194" y="105"/>
                  </a:cubicBezTo>
                  <a:cubicBezTo>
                    <a:pt x="211" y="105"/>
                    <a:pt x="231" y="110"/>
                    <a:pt x="244" y="120"/>
                  </a:cubicBezTo>
                  <a:cubicBezTo>
                    <a:pt x="248" y="122"/>
                    <a:pt x="251" y="125"/>
                    <a:pt x="255" y="129"/>
                  </a:cubicBezTo>
                  <a:cubicBezTo>
                    <a:pt x="258" y="132"/>
                    <a:pt x="260" y="135"/>
                    <a:pt x="263" y="139"/>
                  </a:cubicBezTo>
                  <a:cubicBezTo>
                    <a:pt x="271" y="152"/>
                    <a:pt x="275" y="167"/>
                    <a:pt x="275" y="183"/>
                  </a:cubicBezTo>
                  <a:lnTo>
                    <a:pt x="275" y="1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4742193" y="1059267"/>
              <a:ext cx="167863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07 w 382"/>
                <a:gd name="T11" fmla="*/ 260 h 381"/>
                <a:gd name="T12" fmla="*/ 191 w 382"/>
                <a:gd name="T13" fmla="*/ 276 h 381"/>
                <a:gd name="T14" fmla="*/ 174 w 382"/>
                <a:gd name="T15" fmla="*/ 260 h 381"/>
                <a:gd name="T16" fmla="*/ 174 w 382"/>
                <a:gd name="T17" fmla="*/ 121 h 381"/>
                <a:gd name="T18" fmla="*/ 191 w 382"/>
                <a:gd name="T19" fmla="*/ 105 h 381"/>
                <a:gd name="T20" fmla="*/ 207 w 382"/>
                <a:gd name="T21" fmla="*/ 121 h 381"/>
                <a:gd name="T22" fmla="*/ 207 w 382"/>
                <a:gd name="T23" fmla="*/ 26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5" y="0"/>
                    <a:pt x="0" y="85"/>
                    <a:pt x="0" y="191"/>
                  </a:cubicBezTo>
                  <a:cubicBezTo>
                    <a:pt x="0" y="296"/>
                    <a:pt x="85" y="381"/>
                    <a:pt x="191" y="381"/>
                  </a:cubicBezTo>
                  <a:cubicBezTo>
                    <a:pt x="296" y="381"/>
                    <a:pt x="382" y="296"/>
                    <a:pt x="382" y="191"/>
                  </a:cubicBezTo>
                  <a:cubicBezTo>
                    <a:pt x="382" y="85"/>
                    <a:pt x="296" y="0"/>
                    <a:pt x="191" y="0"/>
                  </a:cubicBezTo>
                  <a:close/>
                  <a:moveTo>
                    <a:pt x="207" y="260"/>
                  </a:moveTo>
                  <a:cubicBezTo>
                    <a:pt x="207" y="269"/>
                    <a:pt x="200" y="276"/>
                    <a:pt x="191" y="276"/>
                  </a:cubicBezTo>
                  <a:cubicBezTo>
                    <a:pt x="182" y="276"/>
                    <a:pt x="174" y="269"/>
                    <a:pt x="174" y="260"/>
                  </a:cubicBezTo>
                  <a:cubicBezTo>
                    <a:pt x="174" y="121"/>
                    <a:pt x="174" y="121"/>
                    <a:pt x="174" y="121"/>
                  </a:cubicBezTo>
                  <a:cubicBezTo>
                    <a:pt x="174" y="112"/>
                    <a:pt x="182" y="105"/>
                    <a:pt x="191" y="105"/>
                  </a:cubicBezTo>
                  <a:cubicBezTo>
                    <a:pt x="200" y="105"/>
                    <a:pt x="207" y="112"/>
                    <a:pt x="207" y="121"/>
                  </a:cubicBezTo>
                  <a:lnTo>
                    <a:pt x="207" y="260"/>
                  </a:lnTo>
                  <a:close/>
                </a:path>
              </a:pathLst>
            </a:custGeom>
            <a:solidFill>
              <a:srgbClr val="FFFFFF">
                <a:alpha val="59000"/>
              </a:srgbClr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600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3881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a-DK" sz="28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87798"/>
          </a:xfrm>
        </p:spPr>
        <p:txBody>
          <a:bodyPr rtlCol="0"/>
          <a:lstStyle>
            <a:lvl1pPr>
              <a:defRPr sz="28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55115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982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a-DK" sz="28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87798"/>
          </a:xfrm>
        </p:spPr>
        <p:txBody>
          <a:bodyPr rtlCol="0"/>
          <a:lstStyle>
            <a:lvl1pPr>
              <a:defRPr sz="28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  <a:prstGeom prst="rect">
            <a:avLst/>
          </a:prstGeom>
        </p:spPr>
        <p:txBody>
          <a:bodyPr rtlCol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 rtl="0"/>
            <a:r>
              <a:rPr lang="da-DK"/>
              <a:t>Edit Master text styles</a:t>
            </a:r>
          </a:p>
          <a:p>
            <a:pPr lvl="1" rtl="0"/>
            <a:r>
              <a:rPr lang="da-DK"/>
              <a:t>Second level</a:t>
            </a:r>
          </a:p>
          <a:p>
            <a:pPr lvl="2" rtl="0"/>
            <a:r>
              <a:rPr lang="da-DK"/>
              <a:t>Third level</a:t>
            </a:r>
          </a:p>
          <a:p>
            <a:pPr lvl="3" rtl="0"/>
            <a:r>
              <a:rPr lang="da-DK"/>
              <a:t>Fourth level</a:t>
            </a:r>
          </a:p>
          <a:p>
            <a:pPr lvl="4" rtl="0"/>
            <a:r>
              <a:rPr lang="da-DK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0684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221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2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 algn="l">
              <a:buNone/>
              <a:defRPr sz="1600">
                <a:solidFill>
                  <a:srgbClr val="575757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rtlCol="0" anchor="t">
            <a:noAutofit/>
          </a:bodyPr>
          <a:lstStyle>
            <a:lvl1pPr>
              <a:defRPr sz="2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0544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3143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 w="1079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8371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0803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rtlCol="0" anchor="t">
            <a:noAutofit/>
          </a:bodyPr>
          <a:lstStyle>
            <a:lvl1pPr>
              <a:defRPr sz="5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647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9612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2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2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0488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17280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4023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B268FB-FC2E-4F6A-8960-DF8B70D5B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CBB60A-3208-4F9B-8C0E-65B9742BD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A5FB6B-20CC-40E2-B7DE-A293C680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White background">
            <a:extLst>
              <a:ext uri="{FF2B5EF4-FFF2-40B4-BE49-F238E27FC236}">
                <a16:creationId xmlns:a16="http://schemas.microsoft.com/office/drawing/2014/main" id="{2BE4C21B-D648-40EA-A70F-49EF6231DFF9}"/>
              </a:ext>
            </a:extLst>
          </p:cNvPr>
          <p:cNvSpPr/>
          <p:nvPr userDrawn="1"/>
        </p:nvSpPr>
        <p:spPr>
          <a:xfrm>
            <a:off x="0" y="0"/>
            <a:ext cx="12192000" cy="61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91593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 rtlCol="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r>
              <a:rPr lang="da-DK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rtlCol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15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 rtlCol="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r>
              <a:rPr lang="da-DK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9011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6831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2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2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7127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rtlCol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9927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823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4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 b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2313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0289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1143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930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99705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 background">
            <a:extLst>
              <a:ext uri="{FF2B5EF4-FFF2-40B4-BE49-F238E27FC236}">
                <a16:creationId xmlns:a16="http://schemas.microsoft.com/office/drawing/2014/main" id="{4D35A615-8907-4614-B236-A1130648DBB8}"/>
              </a:ext>
            </a:extLst>
          </p:cNvPr>
          <p:cNvSpPr/>
          <p:nvPr userDrawn="1"/>
        </p:nvSpPr>
        <p:spPr>
          <a:xfrm>
            <a:off x="0" y="26729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F9601B-0387-40D1-A04F-4A74DA7DD9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30" y="2898191"/>
            <a:ext cx="8530433" cy="765537"/>
          </a:xfrm>
        </p:spPr>
        <p:txBody>
          <a:bodyPr anchor="b" anchorCtr="0">
            <a:noAutofit/>
          </a:bodyPr>
          <a:lstStyle>
            <a:lvl1pPr algn="ctr">
              <a:defRPr sz="5200" b="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CD6CD8-FB7E-4B64-8EA4-5449102398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BD14CE-EB05-441E-BB0E-ED1BAEAB781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9D5EA8-7BA0-47A4-AA98-D69439B26AD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FB2FD23-A4D4-4A98-AD54-BBC18A3FFE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0129" y="3663823"/>
            <a:ext cx="8530433" cy="101938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title</a:t>
            </a:r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98C5317-3E47-4F3E-BB5A-66952CDDC60C}"/>
              </a:ext>
            </a:extLst>
          </p:cNvPr>
          <p:cNvSpPr>
            <a:spLocks/>
          </p:cNvSpPr>
          <p:nvPr userDrawn="1"/>
        </p:nvSpPr>
        <p:spPr bwMode="auto">
          <a:xfrm>
            <a:off x="0" y="1"/>
            <a:ext cx="7219950" cy="6857999"/>
          </a:xfrm>
          <a:custGeom>
            <a:avLst/>
            <a:gdLst>
              <a:gd name="connsiteX0" fmla="*/ 1183157 w 7219950"/>
              <a:gd name="connsiteY0" fmla="*/ 3740029 h 6857999"/>
              <a:gd name="connsiteX1" fmla="*/ 3668664 w 7219950"/>
              <a:gd name="connsiteY1" fmla="*/ 6071286 h 6857999"/>
              <a:gd name="connsiteX2" fmla="*/ 5561626 w 7219950"/>
              <a:gd name="connsiteY2" fmla="*/ 5124462 h 6857999"/>
              <a:gd name="connsiteX3" fmla="*/ 7176212 w 7219950"/>
              <a:gd name="connsiteY3" fmla="*/ 5124462 h 6857999"/>
              <a:gd name="connsiteX4" fmla="*/ 5758976 w 7219950"/>
              <a:gd name="connsiteY4" fmla="*/ 6767481 h 6857999"/>
              <a:gd name="connsiteX5" fmla="*/ 5604162 w 7219950"/>
              <a:gd name="connsiteY5" fmla="*/ 6857999 h 6857999"/>
              <a:gd name="connsiteX6" fmla="*/ 1779879 w 7219950"/>
              <a:gd name="connsiteY6" fmla="*/ 6857999 h 6857999"/>
              <a:gd name="connsiteX7" fmla="*/ 1752385 w 7219950"/>
              <a:gd name="connsiteY7" fmla="*/ 6842843 h 6857999"/>
              <a:gd name="connsiteX8" fmla="*/ 829221 w 7219950"/>
              <a:gd name="connsiteY8" fmla="*/ 6099134 h 6857999"/>
              <a:gd name="connsiteX9" fmla="*/ 1183157 w 7219950"/>
              <a:gd name="connsiteY9" fmla="*/ 3740029 h 6857999"/>
              <a:gd name="connsiteX10" fmla="*/ 1843730 w 7219950"/>
              <a:gd name="connsiteY10" fmla="*/ 0 h 6857999"/>
              <a:gd name="connsiteX11" fmla="*/ 5510636 w 7219950"/>
              <a:gd name="connsiteY11" fmla="*/ 0 h 6857999"/>
              <a:gd name="connsiteX12" fmla="*/ 5642652 w 7219950"/>
              <a:gd name="connsiteY12" fmla="*/ 69827 h 6857999"/>
              <a:gd name="connsiteX13" fmla="*/ 7219950 w 7219950"/>
              <a:gd name="connsiteY13" fmla="*/ 1838463 h 6857999"/>
              <a:gd name="connsiteX14" fmla="*/ 5633206 w 7219950"/>
              <a:gd name="connsiteY14" fmla="*/ 1838463 h 6857999"/>
              <a:gd name="connsiteX15" fmla="*/ 3616968 w 7219950"/>
              <a:gd name="connsiteY15" fmla="*/ 840031 h 6857999"/>
              <a:gd name="connsiteX16" fmla="*/ 1171235 w 7219950"/>
              <a:gd name="connsiteY16" fmla="*/ 3278432 h 6857999"/>
              <a:gd name="connsiteX17" fmla="*/ 8894 w 7219950"/>
              <a:gd name="connsiteY17" fmla="*/ 4418564 h 6857999"/>
              <a:gd name="connsiteX18" fmla="*/ 0 w 7219950"/>
              <a:gd name="connsiteY18" fmla="*/ 4443570 h 6857999"/>
              <a:gd name="connsiteX19" fmla="*/ 0 w 7219950"/>
              <a:gd name="connsiteY19" fmla="*/ 2132641 h 6857999"/>
              <a:gd name="connsiteX20" fmla="*/ 93022 w 7219950"/>
              <a:gd name="connsiteY20" fmla="*/ 1899222 h 6857999"/>
              <a:gd name="connsiteX21" fmla="*/ 1800846 w 7219950"/>
              <a:gd name="connsiteY21" fmla="*/ 2243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219950" h="6857999">
                <a:moveTo>
                  <a:pt x="1183157" y="3740029"/>
                </a:moveTo>
                <a:cubicBezTo>
                  <a:pt x="1334276" y="5021027"/>
                  <a:pt x="2431876" y="6071286"/>
                  <a:pt x="3668664" y="6071286"/>
                </a:cubicBezTo>
                <a:cubicBezTo>
                  <a:pt x="4674799" y="6071286"/>
                  <a:pt x="5223597" y="5478526"/>
                  <a:pt x="5561626" y="5124462"/>
                </a:cubicBezTo>
                <a:cubicBezTo>
                  <a:pt x="5561626" y="5124462"/>
                  <a:pt x="5561626" y="5124462"/>
                  <a:pt x="7176212" y="5124462"/>
                </a:cubicBezTo>
                <a:cubicBezTo>
                  <a:pt x="6881928" y="5816678"/>
                  <a:pt x="6373891" y="6378607"/>
                  <a:pt x="5758976" y="6767481"/>
                </a:cubicBezTo>
                <a:lnTo>
                  <a:pt x="5604162" y="6857999"/>
                </a:lnTo>
                <a:lnTo>
                  <a:pt x="1779879" y="6857999"/>
                </a:lnTo>
                <a:lnTo>
                  <a:pt x="1752385" y="6842843"/>
                </a:lnTo>
                <a:cubicBezTo>
                  <a:pt x="1408593" y="6641793"/>
                  <a:pt x="1097656" y="6390044"/>
                  <a:pt x="829221" y="6099134"/>
                </a:cubicBezTo>
                <a:cubicBezTo>
                  <a:pt x="646288" y="5605831"/>
                  <a:pt x="411656" y="4579441"/>
                  <a:pt x="1183157" y="3740029"/>
                </a:cubicBezTo>
                <a:close/>
                <a:moveTo>
                  <a:pt x="1843730" y="0"/>
                </a:moveTo>
                <a:lnTo>
                  <a:pt x="5510636" y="0"/>
                </a:lnTo>
                <a:lnTo>
                  <a:pt x="5642652" y="69827"/>
                </a:lnTo>
                <a:cubicBezTo>
                  <a:pt x="6283414" y="438272"/>
                  <a:pt x="6858061" y="1013066"/>
                  <a:pt x="7219950" y="1838463"/>
                </a:cubicBezTo>
                <a:cubicBezTo>
                  <a:pt x="7219950" y="1838463"/>
                  <a:pt x="7219950" y="1838463"/>
                  <a:pt x="5633206" y="1838463"/>
                </a:cubicBezTo>
                <a:cubicBezTo>
                  <a:pt x="5092361" y="1217924"/>
                  <a:pt x="4452098" y="840031"/>
                  <a:pt x="3616968" y="840031"/>
                </a:cubicBezTo>
                <a:cubicBezTo>
                  <a:pt x="2443811" y="840031"/>
                  <a:pt x="1258724" y="1858352"/>
                  <a:pt x="1171235" y="3278432"/>
                </a:cubicBezTo>
                <a:cubicBezTo>
                  <a:pt x="969909" y="3349288"/>
                  <a:pt x="324688" y="3629910"/>
                  <a:pt x="8894" y="4418564"/>
                </a:cubicBezTo>
                <a:lnTo>
                  <a:pt x="0" y="4443570"/>
                </a:lnTo>
                <a:lnTo>
                  <a:pt x="0" y="2132641"/>
                </a:lnTo>
                <a:lnTo>
                  <a:pt x="93022" y="1899222"/>
                </a:lnTo>
                <a:cubicBezTo>
                  <a:pt x="438303" y="1110138"/>
                  <a:pt x="1041126" y="443726"/>
                  <a:pt x="1800846" y="2243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809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7755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0021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932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 w="1079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40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2121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575757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rtl="0"/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485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062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rtl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da-DK" sz="5400">
                <a:solidFill>
                  <a:srgbClr val="575757"/>
                </a:solidFill>
                <a:latin typeface="+mj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60770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316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3864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73661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475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4" r="150" b="65"/>
          <a:stretch/>
        </p:blipFill>
        <p:spPr>
          <a:xfrm>
            <a:off x="0" y="0"/>
            <a:ext cx="12192000" cy="68707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pic>
        <p:nvPicPr>
          <p:cNvPr id="13" name="Picture 283" descr="Billedresultat for klimapartnerskaber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345" y="4617987"/>
            <a:ext cx="2736022" cy="1074102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62631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358776" y="358775"/>
            <a:ext cx="11472862" cy="7906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</a:t>
            </a: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358777" y="1661816"/>
            <a:ext cx="2347132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10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10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1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1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10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016853" y="1661816"/>
            <a:ext cx="2336657" cy="4385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10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10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9871075" y="1661816"/>
            <a:ext cx="2302667" cy="3077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10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909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9303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5293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6291" y="5009533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75659" y="18619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56291" y="2571793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33996" y="3168962"/>
            <a:ext cx="359695" cy="335309"/>
          </a:xfrm>
          <a:prstGeom prst="rect">
            <a:avLst/>
          </a:prstGeom>
        </p:spPr>
      </p:pic>
      <p:sp>
        <p:nvSpPr>
          <p:cNvPr id="14" name="Text Box 3">
            <a:extLst>
              <a:ext uri="{FF2B5EF4-FFF2-40B4-BE49-F238E27FC236}">
                <a16:creationId xmlns:a16="http://schemas.microsoft.com/office/drawing/2014/main" id="{7EDB3106-CA7B-4297-9FB6-2CD47320EB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220880" y="1661816"/>
            <a:ext cx="1958046" cy="13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 picture grey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inserted picture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lick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under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 Tool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y Accent color 2 Dark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2E8AE3-B2DC-4E14-A51A-71F0DC97D9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76426" y="2388725"/>
            <a:ext cx="302500" cy="49696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5AA35DB7-7BA8-4299-B05E-C2539F47BBFF}"/>
              </a:ext>
            </a:extLst>
          </p:cNvPr>
          <p:cNvGrpSpPr/>
          <p:nvPr userDrawn="1"/>
        </p:nvGrpSpPr>
        <p:grpSpPr>
          <a:xfrm>
            <a:off x="7220880" y="3101727"/>
            <a:ext cx="1958045" cy="2608933"/>
            <a:chOff x="10245108" y="3336616"/>
            <a:chExt cx="1544337" cy="205770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BB8F977-9322-419B-8552-B30FBD31AC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45108" y="3336616"/>
              <a:ext cx="1544337" cy="2057701"/>
            </a:xfrm>
            <a:prstGeom prst="rect">
              <a:avLst/>
            </a:prstGeom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216A5C5-E5DA-4859-86C1-FA42EC979C20}"/>
                </a:ext>
              </a:extLst>
            </p:cNvPr>
            <p:cNvSpPr/>
            <p:nvPr userDrawn="1"/>
          </p:nvSpPr>
          <p:spPr>
            <a:xfrm>
              <a:off x="10729182" y="4471884"/>
              <a:ext cx="268300" cy="343734"/>
            </a:xfrm>
            <a:prstGeom prst="round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66105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1242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326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891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540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05284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4656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12625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482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da-DK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3591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317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320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73323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4399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8491"/>
            <a:ext cx="3448800" cy="3489100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rtl="0"/>
            <a:r>
              <a:rPr lang="da-DK">
                <a:solidFill>
                  <a:srgbClr val="575757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512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905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74233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881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da-DK">
                <a:solidFill>
                  <a:srgbClr val="575757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779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974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240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19345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724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1117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rtl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da-DK" sz="5400">
                <a:solidFill>
                  <a:srgbClr val="575757"/>
                </a:solidFill>
                <a:latin typeface="+mj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05920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7851" y="1143000"/>
            <a:ext cx="10659533" cy="1345735"/>
          </a:xfrm>
        </p:spPr>
        <p:txBody>
          <a:bodyPr/>
          <a:lstStyle>
            <a:lvl1pPr>
              <a:defRPr sz="1800" b="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166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460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36" b="17166"/>
          <a:stretch/>
        </p:blipFill>
        <p:spPr>
          <a:xfrm flipH="1">
            <a:off x="-44178" y="-20817"/>
            <a:ext cx="12235384" cy="5316717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black">
          <a:xfrm>
            <a:off x="630936" y="1128017"/>
            <a:ext cx="8125200" cy="3039867"/>
          </a:xfrm>
          <a:prstGeom prst="rect">
            <a:avLst/>
          </a:prstGeom>
          <a:solidFill>
            <a:srgbClr val="FFFFFF">
              <a:alpha val="79000"/>
            </a:srgbClr>
          </a:soli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sp>
        <p:nvSpPr>
          <p:cNvPr id="28" name="Text Placeholder 6"/>
          <p:cNvSpPr>
            <a:spLocks noGrp="1"/>
          </p:cNvSpPr>
          <p:nvPr userDrawn="1"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rtlCol="0"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 rtl="0"/>
            <a:r>
              <a:rPr lang="da-DK"/>
              <a:t>Click to edit date/place</a:t>
            </a:r>
          </a:p>
        </p:txBody>
      </p:sp>
      <p:sp>
        <p:nvSpPr>
          <p:cNvPr id="29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Subtitle in sentence cas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7415" y="1417596"/>
            <a:ext cx="5628257" cy="2756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74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1114411"/>
            <a:ext cx="10731309" cy="332399"/>
          </a:xfrm>
        </p:spPr>
        <p:txBody>
          <a:bodyPr rtlCol="0" anchor="t"/>
          <a:lstStyle/>
          <a:p>
            <a:pPr rtl="0"/>
            <a:r>
              <a:rPr lang="da-DK"/>
              <a:t>Klik for at redigere i master</a:t>
            </a:r>
          </a:p>
        </p:txBody>
      </p:sp>
      <p:sp>
        <p:nvSpPr>
          <p:cNvPr id="14" name="Pladsholder til indhold 4"/>
          <p:cNvSpPr>
            <a:spLocks noGrp="1"/>
          </p:cNvSpPr>
          <p:nvPr>
            <p:ph sz="quarter" idx="17"/>
          </p:nvPr>
        </p:nvSpPr>
        <p:spPr>
          <a:xfrm>
            <a:off x="719404" y="2074334"/>
            <a:ext cx="5200385" cy="4523317"/>
          </a:xfrm>
        </p:spPr>
        <p:txBody>
          <a:bodyPr rtlCol="0">
            <a:normAutofit/>
          </a:bodyPr>
          <a:lstStyle>
            <a:lvl1pPr marL="241294" indent="-241294">
              <a:buFont typeface="Wingdings" pitchFamily="2" charset="2"/>
              <a:buChar char="§"/>
              <a:defRPr sz="2400"/>
            </a:lvl1pPr>
            <a:lvl2pPr>
              <a:defRPr sz="2133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 rtl="0"/>
            <a:r>
              <a:rPr lang="da-DK"/>
              <a:t>Klik for at redigere i master</a:t>
            </a:r>
          </a:p>
          <a:p>
            <a:pPr lvl="1" rtl="0"/>
            <a:r>
              <a:rPr lang="da-DK"/>
              <a:t>Andet niveau</a:t>
            </a:r>
          </a:p>
          <a:p>
            <a:pPr lvl="2" rtl="0"/>
            <a:r>
              <a:rPr lang="da-DK"/>
              <a:t>Tredje niveau</a:t>
            </a:r>
          </a:p>
          <a:p>
            <a:pPr lvl="3" rtl="0"/>
            <a:r>
              <a:rPr lang="da-DK"/>
              <a:t>Fjerde niveau</a:t>
            </a:r>
          </a:p>
          <a:p>
            <a:pPr lvl="4" rtl="0"/>
            <a:r>
              <a:rPr lang="da-DK"/>
              <a:t>Femte niveau</a:t>
            </a:r>
          </a:p>
        </p:txBody>
      </p:sp>
      <p:sp>
        <p:nvSpPr>
          <p:cNvPr id="8" name="Pladsholder til indhold 4"/>
          <p:cNvSpPr>
            <a:spLocks noGrp="1"/>
          </p:cNvSpPr>
          <p:nvPr>
            <p:ph sz="quarter" idx="18"/>
          </p:nvPr>
        </p:nvSpPr>
        <p:spPr>
          <a:xfrm>
            <a:off x="6271949" y="2074334"/>
            <a:ext cx="5200385" cy="4523317"/>
          </a:xfrm>
        </p:spPr>
        <p:txBody>
          <a:bodyPr rtlCol="0">
            <a:normAutofit/>
          </a:bodyPr>
          <a:lstStyle>
            <a:lvl1pPr marL="241294" indent="-241294">
              <a:buFont typeface="Wingdings" pitchFamily="2" charset="2"/>
              <a:buChar char="§"/>
              <a:defRPr sz="2400"/>
            </a:lvl1pPr>
            <a:lvl2pPr>
              <a:defRPr sz="2133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 rtl="0"/>
            <a:r>
              <a:rPr lang="da-DK"/>
              <a:t>Klik for at redigere i master</a:t>
            </a:r>
          </a:p>
          <a:p>
            <a:pPr lvl="1" rtl="0"/>
            <a:r>
              <a:rPr lang="da-DK"/>
              <a:t>Andet niveau</a:t>
            </a:r>
          </a:p>
          <a:p>
            <a:pPr lvl="2" rtl="0"/>
            <a:r>
              <a:rPr lang="da-DK"/>
              <a:t>Tredje niveau</a:t>
            </a:r>
          </a:p>
          <a:p>
            <a:pPr lvl="3" rtl="0"/>
            <a:r>
              <a:rPr lang="da-DK"/>
              <a:t>Fjerde niveau</a:t>
            </a:r>
          </a:p>
          <a:p>
            <a:pPr lvl="4" rtl="0"/>
            <a:r>
              <a:rPr lang="da-DK"/>
              <a:t>Femte niveau</a:t>
            </a:r>
          </a:p>
        </p:txBody>
      </p:sp>
      <p:sp>
        <p:nvSpPr>
          <p:cNvPr id="9" name="Tekstboks 8"/>
          <p:cNvSpPr txBox="1"/>
          <p:nvPr userDrawn="1"/>
        </p:nvSpPr>
        <p:spPr>
          <a:xfrm>
            <a:off x="-153392" y="-1393427"/>
            <a:ext cx="6077149" cy="574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08847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defRPr/>
            </a:pPr>
            <a:r>
              <a:rPr lang="da-DK" sz="1867"/>
              <a:t>I begge indholdsbokse kan placeres tekst, billede, tabel og andet indhold i</a:t>
            </a:r>
          </a:p>
        </p:txBody>
      </p:sp>
      <p:sp>
        <p:nvSpPr>
          <p:cNvPr id="11" name="Tekstboks 10"/>
          <p:cNvSpPr txBox="1"/>
          <p:nvPr userDrawn="1"/>
        </p:nvSpPr>
        <p:spPr>
          <a:xfrm>
            <a:off x="6288618" y="-1249798"/>
            <a:ext cx="6077149" cy="8619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08847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da-DK" sz="1867"/>
              <a:t>Slet eventuelt billede. Klik på ikonet for at tilføje et billede. </a:t>
            </a:r>
          </a:p>
          <a:p>
            <a:pPr marL="0" marR="0" indent="0" algn="l" defTabSz="108847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da-DK" sz="1867"/>
              <a:t>Fravælg bullit i teksten, hvis det ikke er relevant  </a:t>
            </a:r>
          </a:p>
        </p:txBody>
      </p:sp>
      <p:sp>
        <p:nvSpPr>
          <p:cNvPr id="13" name="Tekstboks 12"/>
          <p:cNvSpPr txBox="1"/>
          <p:nvPr userDrawn="1"/>
        </p:nvSpPr>
        <p:spPr>
          <a:xfrm>
            <a:off x="-150087" y="-1851586"/>
            <a:ext cx="6077149" cy="287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08847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da-DK" sz="1867">
                <a:solidFill>
                  <a:srgbClr val="C00000"/>
                </a:solidFill>
              </a:rPr>
              <a:t>To indholdsbokse</a:t>
            </a:r>
          </a:p>
        </p:txBody>
      </p:sp>
      <p:sp>
        <p:nvSpPr>
          <p:cNvPr id="10" name="Freeform 9"/>
          <p:cNvSpPr/>
          <p:nvPr userDrawn="1"/>
        </p:nvSpPr>
        <p:spPr bwMode="auto">
          <a:xfrm>
            <a:off x="-7201" y="715769"/>
            <a:ext cx="12210469" cy="370876"/>
          </a:xfrm>
          <a:custGeom>
            <a:avLst/>
            <a:gdLst>
              <a:gd name="T0" fmla="*/ 0 w 2880"/>
              <a:gd name="T1" fmla="*/ 0 h 88"/>
              <a:gd name="T2" fmla="*/ 2748 w 2880"/>
              <a:gd name="T3" fmla="*/ 0 h 88"/>
              <a:gd name="T4" fmla="*/ 2880 w 2880"/>
              <a:gd name="T5" fmla="*/ 88 h 88"/>
              <a:gd name="connsiteX0" fmla="*/ 0 w 10007"/>
              <a:gd name="connsiteY0" fmla="*/ 0 h 11311"/>
              <a:gd name="connsiteX1" fmla="*/ 9642 w 10007"/>
              <a:gd name="connsiteY1" fmla="*/ 0 h 11311"/>
              <a:gd name="connsiteX2" fmla="*/ 10007 w 10007"/>
              <a:gd name="connsiteY2" fmla="*/ 11311 h 1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7" h="11311">
                <a:moveTo>
                  <a:pt x="0" y="0"/>
                </a:moveTo>
                <a:lnTo>
                  <a:pt x="9642" y="0"/>
                </a:lnTo>
                <a:cubicBezTo>
                  <a:pt x="9864" y="0"/>
                  <a:pt x="10004" y="7760"/>
                  <a:pt x="10007" y="11311"/>
                </a:cubicBezTo>
              </a:path>
            </a:pathLst>
          </a:custGeom>
          <a:noFill/>
          <a:ln w="19050" cap="flat">
            <a:solidFill>
              <a:schemeClr val="accent5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8836" tIns="54417" rIns="108836" bIns="54417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da-DK" sz="2400" noProof="0"/>
          </a:p>
        </p:txBody>
      </p:sp>
    </p:spTree>
    <p:extLst>
      <p:ext uri="{BB962C8B-B14F-4D97-AF65-F5344CB8AC3E}">
        <p14:creationId xmlns:p14="http://schemas.microsoft.com/office/powerpoint/2010/main" val="355060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sz="3000"/>
            </a:lvl1pPr>
          </a:lstStyle>
          <a:p>
            <a:pPr rtl="0"/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4649" y="1398114"/>
            <a:ext cx="5652390" cy="4351338"/>
          </a:xfrm>
        </p:spPr>
        <p:txBody>
          <a:bodyPr rtlCol="0"/>
          <a:lstStyle/>
          <a:p>
            <a:pPr lvl="0" rtl="0"/>
            <a:r>
              <a:rPr lang="da-DK"/>
              <a:t>Klik for at redigere teksttypografierne i masteren</a:t>
            </a:r>
          </a:p>
          <a:p>
            <a:pPr lvl="1" rtl="0"/>
            <a:r>
              <a:rPr lang="da-DK"/>
              <a:t>Andet niveau</a:t>
            </a:r>
          </a:p>
          <a:p>
            <a:pPr lvl="2" rtl="0"/>
            <a:r>
              <a:rPr lang="da-DK"/>
              <a:t>Tredje niveau</a:t>
            </a:r>
          </a:p>
          <a:p>
            <a:pPr lvl="3" rtl="0"/>
            <a:r>
              <a:rPr lang="da-DK"/>
              <a:t>Fjerde niveau</a:t>
            </a:r>
          </a:p>
          <a:p>
            <a:pPr lvl="4" rtl="0"/>
            <a:r>
              <a:rPr lang="da-DK"/>
              <a:t>Femt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0073" y="1398114"/>
            <a:ext cx="5334000" cy="4351338"/>
          </a:xfrm>
        </p:spPr>
        <p:txBody>
          <a:bodyPr rtlCol="0"/>
          <a:lstStyle/>
          <a:p>
            <a:pPr lvl="0" rtl="0"/>
            <a:r>
              <a:rPr lang="da-DK"/>
              <a:t>Klik for at redigere teksttypografierne i masteren</a:t>
            </a:r>
          </a:p>
          <a:p>
            <a:pPr lvl="1" rtl="0"/>
            <a:r>
              <a:rPr lang="da-DK"/>
              <a:t>Andet niveau</a:t>
            </a:r>
          </a:p>
          <a:p>
            <a:pPr lvl="2" rtl="0"/>
            <a:r>
              <a:rPr lang="da-DK"/>
              <a:t>Tredje niveau</a:t>
            </a:r>
          </a:p>
          <a:p>
            <a:pPr lvl="3" rtl="0"/>
            <a:r>
              <a:rPr lang="da-DK"/>
              <a:t>Fjerde niveau</a:t>
            </a:r>
          </a:p>
          <a:p>
            <a:pPr lvl="4" rtl="0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00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922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00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6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91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049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08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15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810AC4A-B76B-4C0B-8943-044B614CCDE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2"/>
            <a:ext cx="12192000" cy="6154739"/>
          </a:xfrm>
          <a:solidFill>
            <a:schemeClr val="bg2"/>
          </a:solidFill>
        </p:spPr>
        <p:txBody>
          <a:bodyPr tIns="32400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 dirty="0"/>
              <a:t>Click the placeholder and paste picture via Insert/Pictures and find th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68829" y="1840287"/>
            <a:ext cx="8049427" cy="2422790"/>
          </a:xfrm>
          <a:ln w="57150">
            <a:solidFill>
              <a:schemeClr val="bg1"/>
            </a:solidFill>
            <a:miter lim="800000"/>
          </a:ln>
        </p:spPr>
        <p:txBody>
          <a:bodyPr lIns="2160000" tIns="1044000" rIns="396000" bIns="900000" anchor="ctr" anchorCtr="0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DE2581F6-12B3-461C-B57D-798E83201770}"/>
              </a:ext>
            </a:extLst>
          </p:cNvPr>
          <p:cNvSpPr>
            <a:spLocks noGrp="1" noChangeAspect="1"/>
          </p:cNvSpPr>
          <p:nvPr>
            <p:ph type="subTitle" idx="1" hasCustomPrompt="1"/>
          </p:nvPr>
        </p:nvSpPr>
        <p:spPr>
          <a:xfrm>
            <a:off x="2456842" y="2264238"/>
            <a:ext cx="1498900" cy="1576800"/>
          </a:xfrm>
          <a:custGeom>
            <a:avLst/>
            <a:gdLst>
              <a:gd name="connsiteX0" fmla="*/ 1142764 w 6026400"/>
              <a:gd name="connsiteY0" fmla="*/ 3400834 h 6339600"/>
              <a:gd name="connsiteX1" fmla="*/ 3153838 w 6026400"/>
              <a:gd name="connsiteY1" fmla="*/ 5287793 h 6339600"/>
              <a:gd name="connsiteX2" fmla="*/ 4685472 w 6026400"/>
              <a:gd name="connsiteY2" fmla="*/ 4521417 h 6339600"/>
              <a:gd name="connsiteX3" fmla="*/ 5991865 w 6026400"/>
              <a:gd name="connsiteY3" fmla="*/ 4521417 h 6339600"/>
              <a:gd name="connsiteX4" fmla="*/ 3398417 w 6026400"/>
              <a:gd name="connsiteY4" fmla="*/ 6332634 h 6339600"/>
              <a:gd name="connsiteX5" fmla="*/ 3210706 w 6026400"/>
              <a:gd name="connsiteY5" fmla="*/ 6339600 h 6339600"/>
              <a:gd name="connsiteX6" fmla="*/ 3137224 w 6026400"/>
              <a:gd name="connsiteY6" fmla="*/ 6339600 h 6339600"/>
              <a:gd name="connsiteX7" fmla="*/ 3008198 w 6026400"/>
              <a:gd name="connsiteY7" fmla="*/ 6336082 h 6339600"/>
              <a:gd name="connsiteX8" fmla="*/ 856388 w 6026400"/>
              <a:gd name="connsiteY8" fmla="*/ 5310334 h 6339600"/>
              <a:gd name="connsiteX9" fmla="*/ 1142764 w 6026400"/>
              <a:gd name="connsiteY9" fmla="*/ 3400834 h 6339600"/>
              <a:gd name="connsiteX10" fmla="*/ 3153514 w 6026400"/>
              <a:gd name="connsiteY10" fmla="*/ 0 h 6339600"/>
              <a:gd name="connsiteX11" fmla="*/ 5909425 w 6026400"/>
              <a:gd name="connsiteY11" fmla="*/ 1619900 h 6339600"/>
              <a:gd name="connsiteX12" fmla="*/ 6026400 w 6026400"/>
              <a:gd name="connsiteY12" fmla="*/ 1859617 h 6339600"/>
              <a:gd name="connsiteX13" fmla="*/ 6026400 w 6026400"/>
              <a:gd name="connsiteY13" fmla="*/ 1860996 h 6339600"/>
              <a:gd name="connsiteX14" fmla="*/ 6024566 w 6026400"/>
              <a:gd name="connsiteY14" fmla="*/ 1860996 h 6339600"/>
              <a:gd name="connsiteX15" fmla="*/ 4743143 w 6026400"/>
              <a:gd name="connsiteY15" fmla="*/ 1860996 h 6339600"/>
              <a:gd name="connsiteX16" fmla="*/ 3111682 w 6026400"/>
              <a:gd name="connsiteY16" fmla="*/ 1052847 h 6339600"/>
              <a:gd name="connsiteX17" fmla="*/ 1132691 w 6026400"/>
              <a:gd name="connsiteY17" fmla="*/ 3026534 h 6339600"/>
              <a:gd name="connsiteX18" fmla="*/ 144804 w 6026400"/>
              <a:gd name="connsiteY18" fmla="*/ 4082601 h 6339600"/>
              <a:gd name="connsiteX19" fmla="*/ 0 w 6026400"/>
              <a:gd name="connsiteY19" fmla="*/ 3145663 h 6339600"/>
              <a:gd name="connsiteX20" fmla="*/ 3153514 w 6026400"/>
              <a:gd name="connsiteY20" fmla="*/ 0 h 633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026400" h="6339600">
                <a:moveTo>
                  <a:pt x="1142764" y="3400834"/>
                </a:moveTo>
                <a:cubicBezTo>
                  <a:pt x="1265038" y="4437696"/>
                  <a:pt x="2153128" y="5287793"/>
                  <a:pt x="3153838" y="5287793"/>
                </a:cubicBezTo>
                <a:cubicBezTo>
                  <a:pt x="3967921" y="5287793"/>
                  <a:pt x="4411966" y="4808003"/>
                  <a:pt x="4685472" y="4521417"/>
                </a:cubicBezTo>
                <a:cubicBezTo>
                  <a:pt x="4685472" y="4521417"/>
                  <a:pt x="4685472" y="4521417"/>
                  <a:pt x="5991865" y="4521417"/>
                </a:cubicBezTo>
                <a:cubicBezTo>
                  <a:pt x="5545407" y="5571965"/>
                  <a:pt x="4490913" y="6251763"/>
                  <a:pt x="3398417" y="6332634"/>
                </a:cubicBezTo>
                <a:lnTo>
                  <a:pt x="3210706" y="6339600"/>
                </a:lnTo>
                <a:lnTo>
                  <a:pt x="3137224" y="6339600"/>
                </a:lnTo>
                <a:lnTo>
                  <a:pt x="3008198" y="6336082"/>
                </a:lnTo>
                <a:cubicBezTo>
                  <a:pt x="2157301" y="6289561"/>
                  <a:pt x="1399378" y="5899003"/>
                  <a:pt x="856388" y="5310334"/>
                </a:cubicBezTo>
                <a:cubicBezTo>
                  <a:pt x="708372" y="4911046"/>
                  <a:pt x="518527" y="4080268"/>
                  <a:pt x="1142764" y="3400834"/>
                </a:cubicBezTo>
                <a:close/>
                <a:moveTo>
                  <a:pt x="3153514" y="0"/>
                </a:moveTo>
                <a:cubicBezTo>
                  <a:pt x="4103791" y="0"/>
                  <a:pt x="5283155" y="461262"/>
                  <a:pt x="5909425" y="1619900"/>
                </a:cubicBezTo>
                <a:lnTo>
                  <a:pt x="6026400" y="1859617"/>
                </a:lnTo>
                <a:lnTo>
                  <a:pt x="6026400" y="1860996"/>
                </a:lnTo>
                <a:lnTo>
                  <a:pt x="6024566" y="1860996"/>
                </a:lnTo>
                <a:cubicBezTo>
                  <a:pt x="6007012" y="1860996"/>
                  <a:pt x="5866582" y="1860996"/>
                  <a:pt x="4743143" y="1860996"/>
                </a:cubicBezTo>
                <a:cubicBezTo>
                  <a:pt x="4305512" y="1358720"/>
                  <a:pt x="3787435" y="1052847"/>
                  <a:pt x="3111682" y="1052847"/>
                </a:cubicBezTo>
                <a:cubicBezTo>
                  <a:pt x="2162410" y="1052847"/>
                  <a:pt x="1203484" y="1877095"/>
                  <a:pt x="1132691" y="3026534"/>
                </a:cubicBezTo>
                <a:cubicBezTo>
                  <a:pt x="958926" y="3087708"/>
                  <a:pt x="376491" y="3342066"/>
                  <a:pt x="144804" y="4082601"/>
                </a:cubicBezTo>
                <a:cubicBezTo>
                  <a:pt x="51486" y="3786387"/>
                  <a:pt x="0" y="3470855"/>
                  <a:pt x="0" y="3145663"/>
                </a:cubicBezTo>
                <a:cubicBezTo>
                  <a:pt x="0" y="1464971"/>
                  <a:pt x="1393338" y="0"/>
                  <a:pt x="315351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00"/>
            </a:lvl1pPr>
            <a:lvl2pPr marL="0" indent="0" algn="l">
              <a:buFont typeface="Arial" panose="020B0604020202020204" pitchFamily="34" charset="0"/>
              <a:buChar char="​"/>
              <a:defRPr sz="100"/>
            </a:lvl2pPr>
            <a:lvl3pPr marL="0" indent="0" algn="l">
              <a:buFont typeface="Arial" panose="020B0604020202020204" pitchFamily="34" charset="0"/>
              <a:buChar char="​"/>
              <a:defRPr sz="100"/>
            </a:lvl3pPr>
            <a:lvl4pPr marL="0" indent="0" algn="l">
              <a:buFont typeface="Arial" panose="020B0604020202020204" pitchFamily="34" charset="0"/>
              <a:buChar char="​"/>
              <a:defRPr sz="100"/>
            </a:lvl4pPr>
            <a:lvl5pPr marL="0" indent="0" algn="l">
              <a:buFont typeface="Arial" panose="020B0604020202020204" pitchFamily="34" charset="0"/>
              <a:buChar char="​"/>
              <a:defRPr sz="100"/>
            </a:lvl5pPr>
            <a:lvl6pPr marL="0" indent="0" algn="l">
              <a:buFont typeface="Arial" panose="020B0604020202020204" pitchFamily="34" charset="0"/>
              <a:buChar char="​"/>
              <a:defRPr sz="100"/>
            </a:lvl6pPr>
            <a:lvl7pPr marL="0" indent="0" algn="l">
              <a:buFont typeface="Arial" panose="020B0604020202020204" pitchFamily="34" charset="0"/>
              <a:buChar char="​"/>
              <a:defRPr sz="100"/>
            </a:lvl7pPr>
            <a:lvl8pPr marL="0" indent="0" algn="l">
              <a:buFont typeface="Arial" panose="020B0604020202020204" pitchFamily="34" charset="0"/>
              <a:buChar char="​"/>
              <a:defRPr sz="100"/>
            </a:lvl8pPr>
            <a:lvl9pPr marL="0" indent="0" algn="l">
              <a:buFont typeface="Arial" panose="020B0604020202020204" pitchFamily="34" charset="0"/>
              <a:buChar char="​"/>
              <a:defRPr sz="100"/>
            </a:lvl9pPr>
          </a:lstStyle>
          <a:p>
            <a:r>
              <a:rPr lang="en-GB" dirty="0"/>
              <a:t>.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539749" y="6434418"/>
            <a:ext cx="2401755" cy="180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3540000" y="6434418"/>
            <a:ext cx="5112000" cy="180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889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33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31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334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91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810AC4A-B76B-4C0B-8943-044B614CCDE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2000" cy="6154739"/>
          </a:xfrm>
          <a:solidFill>
            <a:schemeClr val="bg2"/>
          </a:solidFill>
        </p:spPr>
        <p:txBody>
          <a:bodyPr tIns="32400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 dirty="0"/>
              <a:t>Click the placeholder and paste picture via Insert/Pictures and find th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1053" y="2458263"/>
            <a:ext cx="3746836" cy="1186837"/>
          </a:xfrm>
          <a:custGeom>
            <a:avLst/>
            <a:gdLst>
              <a:gd name="connsiteX0" fmla="*/ 0 w 5895814"/>
              <a:gd name="connsiteY0" fmla="*/ 0 h 1135733"/>
              <a:gd name="connsiteX1" fmla="*/ 5895814 w 5895814"/>
              <a:gd name="connsiteY1" fmla="*/ 0 h 1135733"/>
              <a:gd name="connsiteX2" fmla="*/ 5895814 w 5895814"/>
              <a:gd name="connsiteY2" fmla="*/ 1135733 h 1135733"/>
              <a:gd name="connsiteX3" fmla="*/ 0 w 5895814"/>
              <a:gd name="connsiteY3" fmla="*/ 1135733 h 1135733"/>
              <a:gd name="connsiteX4" fmla="*/ 0 w 5895814"/>
              <a:gd name="connsiteY4" fmla="*/ 0 h 1135733"/>
              <a:gd name="connsiteX0" fmla="*/ 0 w 5895814"/>
              <a:gd name="connsiteY0" fmla="*/ 1135733 h 1227173"/>
              <a:gd name="connsiteX1" fmla="*/ 0 w 5895814"/>
              <a:gd name="connsiteY1" fmla="*/ 0 h 1227173"/>
              <a:gd name="connsiteX2" fmla="*/ 5895814 w 5895814"/>
              <a:gd name="connsiteY2" fmla="*/ 0 h 1227173"/>
              <a:gd name="connsiteX3" fmla="*/ 5895814 w 5895814"/>
              <a:gd name="connsiteY3" fmla="*/ 1135733 h 1227173"/>
              <a:gd name="connsiteX4" fmla="*/ 91440 w 5895814"/>
              <a:gd name="connsiteY4" fmla="*/ 1227173 h 1227173"/>
              <a:gd name="connsiteX0" fmla="*/ 0 w 5895814"/>
              <a:gd name="connsiteY0" fmla="*/ 1135733 h 1227173"/>
              <a:gd name="connsiteX1" fmla="*/ 0 w 5895814"/>
              <a:gd name="connsiteY1" fmla="*/ 0 h 1227173"/>
              <a:gd name="connsiteX2" fmla="*/ 5895814 w 5895814"/>
              <a:gd name="connsiteY2" fmla="*/ 0 h 1227173"/>
              <a:gd name="connsiteX3" fmla="*/ 91440 w 5895814"/>
              <a:gd name="connsiteY3" fmla="*/ 1227173 h 1227173"/>
              <a:gd name="connsiteX0" fmla="*/ 0 w 5895814"/>
              <a:gd name="connsiteY0" fmla="*/ 1135733 h 1135733"/>
              <a:gd name="connsiteX1" fmla="*/ 0 w 5895814"/>
              <a:gd name="connsiteY1" fmla="*/ 0 h 1135733"/>
              <a:gd name="connsiteX2" fmla="*/ 5895814 w 5895814"/>
              <a:gd name="connsiteY2" fmla="*/ 0 h 1135733"/>
              <a:gd name="connsiteX0" fmla="*/ 0 w 0"/>
              <a:gd name="connsiteY0" fmla="*/ 1135733 h 1135733"/>
              <a:gd name="connsiteX1" fmla="*/ 0 w 0"/>
              <a:gd name="connsiteY1" fmla="*/ 0 h 1135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35733">
                <a:moveTo>
                  <a:pt x="0" y="1135733"/>
                </a:moveTo>
                <a:lnTo>
                  <a:pt x="0" y="0"/>
                </a:lnTo>
              </a:path>
            </a:pathLst>
          </a:custGeom>
          <a:ln w="57150">
            <a:solidFill>
              <a:schemeClr val="bg1"/>
            </a:solidFill>
            <a:miter lim="800000"/>
          </a:ln>
        </p:spPr>
        <p:txBody>
          <a:bodyPr wrap="none" lIns="180000" tIns="360000" rIns="0" bIns="360000" anchor="ctr" anchorCtr="0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DE2581F6-12B3-461C-B57D-798E83201770}"/>
              </a:ext>
            </a:extLst>
          </p:cNvPr>
          <p:cNvSpPr>
            <a:spLocks noGrp="1" noChangeAspect="1"/>
          </p:cNvSpPr>
          <p:nvPr>
            <p:ph type="subTitle" idx="1" hasCustomPrompt="1"/>
          </p:nvPr>
        </p:nvSpPr>
        <p:spPr>
          <a:xfrm>
            <a:off x="2045453" y="2264238"/>
            <a:ext cx="1498900" cy="1576800"/>
          </a:xfrm>
          <a:custGeom>
            <a:avLst/>
            <a:gdLst>
              <a:gd name="connsiteX0" fmla="*/ 1142764 w 6026400"/>
              <a:gd name="connsiteY0" fmla="*/ 3400834 h 6339600"/>
              <a:gd name="connsiteX1" fmla="*/ 3153838 w 6026400"/>
              <a:gd name="connsiteY1" fmla="*/ 5287793 h 6339600"/>
              <a:gd name="connsiteX2" fmla="*/ 4685472 w 6026400"/>
              <a:gd name="connsiteY2" fmla="*/ 4521417 h 6339600"/>
              <a:gd name="connsiteX3" fmla="*/ 5991865 w 6026400"/>
              <a:gd name="connsiteY3" fmla="*/ 4521417 h 6339600"/>
              <a:gd name="connsiteX4" fmla="*/ 3398417 w 6026400"/>
              <a:gd name="connsiteY4" fmla="*/ 6332634 h 6339600"/>
              <a:gd name="connsiteX5" fmla="*/ 3210706 w 6026400"/>
              <a:gd name="connsiteY5" fmla="*/ 6339600 h 6339600"/>
              <a:gd name="connsiteX6" fmla="*/ 3137224 w 6026400"/>
              <a:gd name="connsiteY6" fmla="*/ 6339600 h 6339600"/>
              <a:gd name="connsiteX7" fmla="*/ 3008198 w 6026400"/>
              <a:gd name="connsiteY7" fmla="*/ 6336082 h 6339600"/>
              <a:gd name="connsiteX8" fmla="*/ 856388 w 6026400"/>
              <a:gd name="connsiteY8" fmla="*/ 5310334 h 6339600"/>
              <a:gd name="connsiteX9" fmla="*/ 1142764 w 6026400"/>
              <a:gd name="connsiteY9" fmla="*/ 3400834 h 6339600"/>
              <a:gd name="connsiteX10" fmla="*/ 3153514 w 6026400"/>
              <a:gd name="connsiteY10" fmla="*/ 0 h 6339600"/>
              <a:gd name="connsiteX11" fmla="*/ 5909425 w 6026400"/>
              <a:gd name="connsiteY11" fmla="*/ 1619900 h 6339600"/>
              <a:gd name="connsiteX12" fmla="*/ 6026400 w 6026400"/>
              <a:gd name="connsiteY12" fmla="*/ 1859617 h 6339600"/>
              <a:gd name="connsiteX13" fmla="*/ 6026400 w 6026400"/>
              <a:gd name="connsiteY13" fmla="*/ 1860996 h 6339600"/>
              <a:gd name="connsiteX14" fmla="*/ 6024566 w 6026400"/>
              <a:gd name="connsiteY14" fmla="*/ 1860996 h 6339600"/>
              <a:gd name="connsiteX15" fmla="*/ 4743143 w 6026400"/>
              <a:gd name="connsiteY15" fmla="*/ 1860996 h 6339600"/>
              <a:gd name="connsiteX16" fmla="*/ 3111682 w 6026400"/>
              <a:gd name="connsiteY16" fmla="*/ 1052847 h 6339600"/>
              <a:gd name="connsiteX17" fmla="*/ 1132691 w 6026400"/>
              <a:gd name="connsiteY17" fmla="*/ 3026534 h 6339600"/>
              <a:gd name="connsiteX18" fmla="*/ 144804 w 6026400"/>
              <a:gd name="connsiteY18" fmla="*/ 4082601 h 6339600"/>
              <a:gd name="connsiteX19" fmla="*/ 0 w 6026400"/>
              <a:gd name="connsiteY19" fmla="*/ 3145663 h 6339600"/>
              <a:gd name="connsiteX20" fmla="*/ 3153514 w 6026400"/>
              <a:gd name="connsiteY20" fmla="*/ 0 h 633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026400" h="6339600">
                <a:moveTo>
                  <a:pt x="1142764" y="3400834"/>
                </a:moveTo>
                <a:cubicBezTo>
                  <a:pt x="1265038" y="4437696"/>
                  <a:pt x="2153128" y="5287793"/>
                  <a:pt x="3153838" y="5287793"/>
                </a:cubicBezTo>
                <a:cubicBezTo>
                  <a:pt x="3967921" y="5287793"/>
                  <a:pt x="4411966" y="4808003"/>
                  <a:pt x="4685472" y="4521417"/>
                </a:cubicBezTo>
                <a:cubicBezTo>
                  <a:pt x="4685472" y="4521417"/>
                  <a:pt x="4685472" y="4521417"/>
                  <a:pt x="5991865" y="4521417"/>
                </a:cubicBezTo>
                <a:cubicBezTo>
                  <a:pt x="5545407" y="5571965"/>
                  <a:pt x="4490913" y="6251763"/>
                  <a:pt x="3398417" y="6332634"/>
                </a:cubicBezTo>
                <a:lnTo>
                  <a:pt x="3210706" y="6339600"/>
                </a:lnTo>
                <a:lnTo>
                  <a:pt x="3137224" y="6339600"/>
                </a:lnTo>
                <a:lnTo>
                  <a:pt x="3008198" y="6336082"/>
                </a:lnTo>
                <a:cubicBezTo>
                  <a:pt x="2157301" y="6289561"/>
                  <a:pt x="1399378" y="5899003"/>
                  <a:pt x="856388" y="5310334"/>
                </a:cubicBezTo>
                <a:cubicBezTo>
                  <a:pt x="708372" y="4911046"/>
                  <a:pt x="518527" y="4080268"/>
                  <a:pt x="1142764" y="3400834"/>
                </a:cubicBezTo>
                <a:close/>
                <a:moveTo>
                  <a:pt x="3153514" y="0"/>
                </a:moveTo>
                <a:cubicBezTo>
                  <a:pt x="4103791" y="0"/>
                  <a:pt x="5283155" y="461262"/>
                  <a:pt x="5909425" y="1619900"/>
                </a:cubicBezTo>
                <a:lnTo>
                  <a:pt x="6026400" y="1859617"/>
                </a:lnTo>
                <a:lnTo>
                  <a:pt x="6026400" y="1860996"/>
                </a:lnTo>
                <a:lnTo>
                  <a:pt x="6024566" y="1860996"/>
                </a:lnTo>
                <a:cubicBezTo>
                  <a:pt x="6007012" y="1860996"/>
                  <a:pt x="5866582" y="1860996"/>
                  <a:pt x="4743143" y="1860996"/>
                </a:cubicBezTo>
                <a:cubicBezTo>
                  <a:pt x="4305512" y="1358720"/>
                  <a:pt x="3787435" y="1052847"/>
                  <a:pt x="3111682" y="1052847"/>
                </a:cubicBezTo>
                <a:cubicBezTo>
                  <a:pt x="2162410" y="1052847"/>
                  <a:pt x="1203484" y="1877095"/>
                  <a:pt x="1132691" y="3026534"/>
                </a:cubicBezTo>
                <a:cubicBezTo>
                  <a:pt x="958926" y="3087708"/>
                  <a:pt x="376491" y="3342066"/>
                  <a:pt x="144804" y="4082601"/>
                </a:cubicBezTo>
                <a:cubicBezTo>
                  <a:pt x="51486" y="3786387"/>
                  <a:pt x="0" y="3470855"/>
                  <a:pt x="0" y="3145663"/>
                </a:cubicBezTo>
                <a:cubicBezTo>
                  <a:pt x="0" y="1464971"/>
                  <a:pt x="1393338" y="0"/>
                  <a:pt x="315351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00"/>
            </a:lvl1pPr>
            <a:lvl2pPr marL="0" indent="0" algn="l">
              <a:buFont typeface="Arial" panose="020B0604020202020204" pitchFamily="34" charset="0"/>
              <a:buChar char="​"/>
              <a:defRPr sz="100"/>
            </a:lvl2pPr>
            <a:lvl3pPr marL="0" indent="0" algn="l">
              <a:buFont typeface="Arial" panose="020B0604020202020204" pitchFamily="34" charset="0"/>
              <a:buChar char="​"/>
              <a:defRPr sz="100"/>
            </a:lvl3pPr>
            <a:lvl4pPr marL="0" indent="0" algn="l">
              <a:buFont typeface="Arial" panose="020B0604020202020204" pitchFamily="34" charset="0"/>
              <a:buChar char="​"/>
              <a:defRPr sz="100"/>
            </a:lvl4pPr>
            <a:lvl5pPr marL="0" indent="0" algn="l">
              <a:buFont typeface="Arial" panose="020B0604020202020204" pitchFamily="34" charset="0"/>
              <a:buChar char="​"/>
              <a:defRPr sz="100"/>
            </a:lvl5pPr>
            <a:lvl6pPr marL="0" indent="0" algn="l">
              <a:buFont typeface="Arial" panose="020B0604020202020204" pitchFamily="34" charset="0"/>
              <a:buChar char="​"/>
              <a:defRPr sz="100"/>
            </a:lvl6pPr>
            <a:lvl7pPr marL="0" indent="0" algn="l">
              <a:buFont typeface="Arial" panose="020B0604020202020204" pitchFamily="34" charset="0"/>
              <a:buChar char="​"/>
              <a:defRPr sz="100"/>
            </a:lvl7pPr>
            <a:lvl8pPr marL="0" indent="0" algn="l">
              <a:buFont typeface="Arial" panose="020B0604020202020204" pitchFamily="34" charset="0"/>
              <a:buChar char="​"/>
              <a:defRPr sz="100"/>
            </a:lvl8pPr>
            <a:lvl9pPr marL="0" indent="0" algn="l">
              <a:buFont typeface="Arial" panose="020B0604020202020204" pitchFamily="34" charset="0"/>
              <a:buChar char="​"/>
              <a:defRPr sz="100"/>
            </a:lvl9pPr>
          </a:lstStyle>
          <a:p>
            <a:r>
              <a:rPr lang="en-GB" dirty="0"/>
              <a:t>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7223B8-0902-41B4-979B-C058F3B71E4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2495546-4339-489D-9963-DB55CF3358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4A629E-E136-4F5F-B7F2-DD5098FD2B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695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810AC4A-B76B-4C0B-8943-044B614CCDE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2000" cy="6154739"/>
          </a:xfrm>
          <a:solidFill>
            <a:schemeClr val="bg2"/>
          </a:solidFill>
        </p:spPr>
        <p:txBody>
          <a:bodyPr tIns="32400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600" dirty="0"/>
              <a:t>Click the placeholder and paste picture via Insert/Pictures and find th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1053" y="2458263"/>
            <a:ext cx="3746836" cy="1186837"/>
          </a:xfrm>
          <a:custGeom>
            <a:avLst/>
            <a:gdLst>
              <a:gd name="connsiteX0" fmla="*/ 0 w 5895814"/>
              <a:gd name="connsiteY0" fmla="*/ 0 h 1135733"/>
              <a:gd name="connsiteX1" fmla="*/ 5895814 w 5895814"/>
              <a:gd name="connsiteY1" fmla="*/ 0 h 1135733"/>
              <a:gd name="connsiteX2" fmla="*/ 5895814 w 5895814"/>
              <a:gd name="connsiteY2" fmla="*/ 1135733 h 1135733"/>
              <a:gd name="connsiteX3" fmla="*/ 0 w 5895814"/>
              <a:gd name="connsiteY3" fmla="*/ 1135733 h 1135733"/>
              <a:gd name="connsiteX4" fmla="*/ 0 w 5895814"/>
              <a:gd name="connsiteY4" fmla="*/ 0 h 1135733"/>
              <a:gd name="connsiteX0" fmla="*/ 0 w 5895814"/>
              <a:gd name="connsiteY0" fmla="*/ 1135733 h 1227173"/>
              <a:gd name="connsiteX1" fmla="*/ 0 w 5895814"/>
              <a:gd name="connsiteY1" fmla="*/ 0 h 1227173"/>
              <a:gd name="connsiteX2" fmla="*/ 5895814 w 5895814"/>
              <a:gd name="connsiteY2" fmla="*/ 0 h 1227173"/>
              <a:gd name="connsiteX3" fmla="*/ 5895814 w 5895814"/>
              <a:gd name="connsiteY3" fmla="*/ 1135733 h 1227173"/>
              <a:gd name="connsiteX4" fmla="*/ 91440 w 5895814"/>
              <a:gd name="connsiteY4" fmla="*/ 1227173 h 1227173"/>
              <a:gd name="connsiteX0" fmla="*/ 0 w 5895814"/>
              <a:gd name="connsiteY0" fmla="*/ 1135733 h 1227173"/>
              <a:gd name="connsiteX1" fmla="*/ 0 w 5895814"/>
              <a:gd name="connsiteY1" fmla="*/ 0 h 1227173"/>
              <a:gd name="connsiteX2" fmla="*/ 5895814 w 5895814"/>
              <a:gd name="connsiteY2" fmla="*/ 0 h 1227173"/>
              <a:gd name="connsiteX3" fmla="*/ 91440 w 5895814"/>
              <a:gd name="connsiteY3" fmla="*/ 1227173 h 1227173"/>
              <a:gd name="connsiteX0" fmla="*/ 0 w 5895814"/>
              <a:gd name="connsiteY0" fmla="*/ 1135733 h 1135733"/>
              <a:gd name="connsiteX1" fmla="*/ 0 w 5895814"/>
              <a:gd name="connsiteY1" fmla="*/ 0 h 1135733"/>
              <a:gd name="connsiteX2" fmla="*/ 5895814 w 5895814"/>
              <a:gd name="connsiteY2" fmla="*/ 0 h 1135733"/>
              <a:gd name="connsiteX0" fmla="*/ 0 w 0"/>
              <a:gd name="connsiteY0" fmla="*/ 1135733 h 1135733"/>
              <a:gd name="connsiteX1" fmla="*/ 0 w 0"/>
              <a:gd name="connsiteY1" fmla="*/ 0 h 1135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135733">
                <a:moveTo>
                  <a:pt x="0" y="1135733"/>
                </a:moveTo>
                <a:lnTo>
                  <a:pt x="0" y="0"/>
                </a:lnTo>
              </a:path>
            </a:pathLst>
          </a:custGeom>
          <a:ln w="57150">
            <a:solidFill>
              <a:schemeClr val="bg1"/>
            </a:solidFill>
            <a:miter lim="800000"/>
          </a:ln>
        </p:spPr>
        <p:txBody>
          <a:bodyPr wrap="none" lIns="180000" tIns="360000" rIns="0" bIns="360000" anchor="ctr" anchorCtr="0">
            <a:sp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sp>
        <p:nvSpPr>
          <p:cNvPr id="21" name="Subtitle 20">
            <a:extLst>
              <a:ext uri="{FF2B5EF4-FFF2-40B4-BE49-F238E27FC236}">
                <a16:creationId xmlns:a16="http://schemas.microsoft.com/office/drawing/2014/main" id="{DE2581F6-12B3-461C-B57D-798E83201770}"/>
              </a:ext>
            </a:extLst>
          </p:cNvPr>
          <p:cNvSpPr>
            <a:spLocks noGrp="1" noChangeAspect="1"/>
          </p:cNvSpPr>
          <p:nvPr>
            <p:ph type="subTitle" idx="1" hasCustomPrompt="1"/>
          </p:nvPr>
        </p:nvSpPr>
        <p:spPr>
          <a:xfrm>
            <a:off x="2045453" y="2264238"/>
            <a:ext cx="1498900" cy="1576800"/>
          </a:xfrm>
          <a:custGeom>
            <a:avLst/>
            <a:gdLst>
              <a:gd name="connsiteX0" fmla="*/ 1142764 w 6026400"/>
              <a:gd name="connsiteY0" fmla="*/ 3400834 h 6339600"/>
              <a:gd name="connsiteX1" fmla="*/ 3153838 w 6026400"/>
              <a:gd name="connsiteY1" fmla="*/ 5287793 h 6339600"/>
              <a:gd name="connsiteX2" fmla="*/ 4685472 w 6026400"/>
              <a:gd name="connsiteY2" fmla="*/ 4521417 h 6339600"/>
              <a:gd name="connsiteX3" fmla="*/ 5991865 w 6026400"/>
              <a:gd name="connsiteY3" fmla="*/ 4521417 h 6339600"/>
              <a:gd name="connsiteX4" fmla="*/ 3398417 w 6026400"/>
              <a:gd name="connsiteY4" fmla="*/ 6332634 h 6339600"/>
              <a:gd name="connsiteX5" fmla="*/ 3210706 w 6026400"/>
              <a:gd name="connsiteY5" fmla="*/ 6339600 h 6339600"/>
              <a:gd name="connsiteX6" fmla="*/ 3137224 w 6026400"/>
              <a:gd name="connsiteY6" fmla="*/ 6339600 h 6339600"/>
              <a:gd name="connsiteX7" fmla="*/ 3008198 w 6026400"/>
              <a:gd name="connsiteY7" fmla="*/ 6336082 h 6339600"/>
              <a:gd name="connsiteX8" fmla="*/ 856388 w 6026400"/>
              <a:gd name="connsiteY8" fmla="*/ 5310334 h 6339600"/>
              <a:gd name="connsiteX9" fmla="*/ 1142764 w 6026400"/>
              <a:gd name="connsiteY9" fmla="*/ 3400834 h 6339600"/>
              <a:gd name="connsiteX10" fmla="*/ 3153514 w 6026400"/>
              <a:gd name="connsiteY10" fmla="*/ 0 h 6339600"/>
              <a:gd name="connsiteX11" fmla="*/ 5909425 w 6026400"/>
              <a:gd name="connsiteY11" fmla="*/ 1619900 h 6339600"/>
              <a:gd name="connsiteX12" fmla="*/ 6026400 w 6026400"/>
              <a:gd name="connsiteY12" fmla="*/ 1859617 h 6339600"/>
              <a:gd name="connsiteX13" fmla="*/ 6026400 w 6026400"/>
              <a:gd name="connsiteY13" fmla="*/ 1860996 h 6339600"/>
              <a:gd name="connsiteX14" fmla="*/ 6024566 w 6026400"/>
              <a:gd name="connsiteY14" fmla="*/ 1860996 h 6339600"/>
              <a:gd name="connsiteX15" fmla="*/ 4743143 w 6026400"/>
              <a:gd name="connsiteY15" fmla="*/ 1860996 h 6339600"/>
              <a:gd name="connsiteX16" fmla="*/ 3111682 w 6026400"/>
              <a:gd name="connsiteY16" fmla="*/ 1052847 h 6339600"/>
              <a:gd name="connsiteX17" fmla="*/ 1132691 w 6026400"/>
              <a:gd name="connsiteY17" fmla="*/ 3026534 h 6339600"/>
              <a:gd name="connsiteX18" fmla="*/ 144804 w 6026400"/>
              <a:gd name="connsiteY18" fmla="*/ 4082601 h 6339600"/>
              <a:gd name="connsiteX19" fmla="*/ 0 w 6026400"/>
              <a:gd name="connsiteY19" fmla="*/ 3145663 h 6339600"/>
              <a:gd name="connsiteX20" fmla="*/ 3153514 w 6026400"/>
              <a:gd name="connsiteY20" fmla="*/ 0 h 633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026400" h="6339600">
                <a:moveTo>
                  <a:pt x="1142764" y="3400834"/>
                </a:moveTo>
                <a:cubicBezTo>
                  <a:pt x="1265038" y="4437696"/>
                  <a:pt x="2153128" y="5287793"/>
                  <a:pt x="3153838" y="5287793"/>
                </a:cubicBezTo>
                <a:cubicBezTo>
                  <a:pt x="3967921" y="5287793"/>
                  <a:pt x="4411966" y="4808003"/>
                  <a:pt x="4685472" y="4521417"/>
                </a:cubicBezTo>
                <a:cubicBezTo>
                  <a:pt x="4685472" y="4521417"/>
                  <a:pt x="4685472" y="4521417"/>
                  <a:pt x="5991865" y="4521417"/>
                </a:cubicBezTo>
                <a:cubicBezTo>
                  <a:pt x="5545407" y="5571965"/>
                  <a:pt x="4490913" y="6251763"/>
                  <a:pt x="3398417" y="6332634"/>
                </a:cubicBezTo>
                <a:lnTo>
                  <a:pt x="3210706" y="6339600"/>
                </a:lnTo>
                <a:lnTo>
                  <a:pt x="3137224" y="6339600"/>
                </a:lnTo>
                <a:lnTo>
                  <a:pt x="3008198" y="6336082"/>
                </a:lnTo>
                <a:cubicBezTo>
                  <a:pt x="2157301" y="6289561"/>
                  <a:pt x="1399378" y="5899003"/>
                  <a:pt x="856388" y="5310334"/>
                </a:cubicBezTo>
                <a:cubicBezTo>
                  <a:pt x="708372" y="4911046"/>
                  <a:pt x="518527" y="4080268"/>
                  <a:pt x="1142764" y="3400834"/>
                </a:cubicBezTo>
                <a:close/>
                <a:moveTo>
                  <a:pt x="3153514" y="0"/>
                </a:moveTo>
                <a:cubicBezTo>
                  <a:pt x="4103791" y="0"/>
                  <a:pt x="5283155" y="461262"/>
                  <a:pt x="5909425" y="1619900"/>
                </a:cubicBezTo>
                <a:lnTo>
                  <a:pt x="6026400" y="1859617"/>
                </a:lnTo>
                <a:lnTo>
                  <a:pt x="6026400" y="1860996"/>
                </a:lnTo>
                <a:lnTo>
                  <a:pt x="6024566" y="1860996"/>
                </a:lnTo>
                <a:cubicBezTo>
                  <a:pt x="6007012" y="1860996"/>
                  <a:pt x="5866582" y="1860996"/>
                  <a:pt x="4743143" y="1860996"/>
                </a:cubicBezTo>
                <a:cubicBezTo>
                  <a:pt x="4305512" y="1358720"/>
                  <a:pt x="3787435" y="1052847"/>
                  <a:pt x="3111682" y="1052847"/>
                </a:cubicBezTo>
                <a:cubicBezTo>
                  <a:pt x="2162410" y="1052847"/>
                  <a:pt x="1203484" y="1877095"/>
                  <a:pt x="1132691" y="3026534"/>
                </a:cubicBezTo>
                <a:cubicBezTo>
                  <a:pt x="958926" y="3087708"/>
                  <a:pt x="376491" y="3342066"/>
                  <a:pt x="144804" y="4082601"/>
                </a:cubicBezTo>
                <a:cubicBezTo>
                  <a:pt x="51486" y="3786387"/>
                  <a:pt x="0" y="3470855"/>
                  <a:pt x="0" y="3145663"/>
                </a:cubicBezTo>
                <a:cubicBezTo>
                  <a:pt x="0" y="1464971"/>
                  <a:pt x="1393338" y="0"/>
                  <a:pt x="3153514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00"/>
            </a:lvl1pPr>
            <a:lvl2pPr marL="0" indent="0" algn="l">
              <a:buFont typeface="Arial" panose="020B0604020202020204" pitchFamily="34" charset="0"/>
              <a:buChar char="​"/>
              <a:defRPr sz="100"/>
            </a:lvl2pPr>
            <a:lvl3pPr marL="0" indent="0" algn="l">
              <a:buFont typeface="Arial" panose="020B0604020202020204" pitchFamily="34" charset="0"/>
              <a:buChar char="​"/>
              <a:defRPr sz="100"/>
            </a:lvl3pPr>
            <a:lvl4pPr marL="0" indent="0" algn="l">
              <a:buFont typeface="Arial" panose="020B0604020202020204" pitchFamily="34" charset="0"/>
              <a:buChar char="​"/>
              <a:defRPr sz="100"/>
            </a:lvl4pPr>
            <a:lvl5pPr marL="0" indent="0" algn="l">
              <a:buFont typeface="Arial" panose="020B0604020202020204" pitchFamily="34" charset="0"/>
              <a:buChar char="​"/>
              <a:defRPr sz="100"/>
            </a:lvl5pPr>
            <a:lvl6pPr marL="0" indent="0" algn="l">
              <a:buFont typeface="Arial" panose="020B0604020202020204" pitchFamily="34" charset="0"/>
              <a:buChar char="​"/>
              <a:defRPr sz="100"/>
            </a:lvl6pPr>
            <a:lvl7pPr marL="0" indent="0" algn="l">
              <a:buFont typeface="Arial" panose="020B0604020202020204" pitchFamily="34" charset="0"/>
              <a:buChar char="​"/>
              <a:defRPr sz="100"/>
            </a:lvl7pPr>
            <a:lvl8pPr marL="0" indent="0" algn="l">
              <a:buFont typeface="Arial" panose="020B0604020202020204" pitchFamily="34" charset="0"/>
              <a:buChar char="​"/>
              <a:defRPr sz="100"/>
            </a:lvl8pPr>
            <a:lvl9pPr marL="0" indent="0" algn="l">
              <a:buFont typeface="Arial" panose="020B0604020202020204" pitchFamily="34" charset="0"/>
              <a:buChar char="​"/>
              <a:defRPr sz="100"/>
            </a:lvl9pPr>
          </a:lstStyle>
          <a:p>
            <a:r>
              <a:rPr lang="en-GB" dirty="0"/>
              <a:t>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7223B8-0902-41B4-979B-C058F3B71E4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2495546-4339-489D-9963-DB55CF3358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4A629E-E136-4F5F-B7F2-DD5098FD2B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04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EB64C756-E564-4DA5-A9C8-F7F1FC522F83}"/>
              </a:ext>
            </a:extLst>
          </p:cNvPr>
          <p:cNvSpPr/>
          <p:nvPr userDrawn="1"/>
        </p:nvSpPr>
        <p:spPr>
          <a:xfrm>
            <a:off x="1063" y="0"/>
            <a:ext cx="12190938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457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60001"/>
            <a:ext cx="6572249" cy="76553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04926"/>
            <a:ext cx="6572249" cy="4668838"/>
          </a:xfrm>
        </p:spPr>
        <p:txBody>
          <a:bodyPr/>
          <a:lstStyle>
            <a:lvl1pPr marL="432000" indent="-432000">
              <a:spcBef>
                <a:spcPts val="1300"/>
              </a:spcBef>
              <a:buClr>
                <a:schemeClr val="tx2"/>
              </a:buClr>
              <a:buSzPct val="100000"/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576000" indent="-144000">
              <a:spcBef>
                <a:spcPts val="0"/>
              </a:spcBef>
              <a:buFont typeface="Arial" panose="020B0604020202020204" pitchFamily="34" charset="0"/>
              <a:buChar char="•"/>
              <a:defRPr sz="1400" b="0"/>
            </a:lvl2pPr>
            <a:lvl3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3pPr>
            <a:lvl4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4pPr>
            <a:lvl5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5pPr>
            <a:lvl6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6pPr>
            <a:lvl7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7pPr>
            <a:lvl8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8pPr>
            <a:lvl9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3A71FEAF-2E75-495B-826D-F2616B411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19950" y="-1"/>
            <a:ext cx="4972049" cy="6154739"/>
          </a:xfrm>
          <a:solidFill>
            <a:schemeClr val="tx2"/>
          </a:solidFill>
        </p:spPr>
        <p:txBody>
          <a:bodyPr tIns="324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49F7AD6-07A6-4FBF-8E61-F20B13AAC95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D1A57A2-4835-4FE1-AA87-F9864621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2067F9A-A7E9-45F0-93E1-54843478AEC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op line">
            <a:extLst>
              <a:ext uri="{FF2B5EF4-FFF2-40B4-BE49-F238E27FC236}">
                <a16:creationId xmlns:a16="http://schemas.microsoft.com/office/drawing/2014/main" id="{9561C2B1-D9F4-4BA4-ADC8-01A6C20C8FAE}"/>
              </a:ext>
            </a:extLst>
          </p:cNvPr>
          <p:cNvSpPr/>
          <p:nvPr userDrawn="1"/>
        </p:nvSpPr>
        <p:spPr>
          <a:xfrm>
            <a:off x="245534" y="331723"/>
            <a:ext cx="45719" cy="385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pic>
        <p:nvPicPr>
          <p:cNvPr id="17" name="Logo Cementirholding">
            <a:extLst>
              <a:ext uri="{FF2B5EF4-FFF2-40B4-BE49-F238E27FC236}">
                <a16:creationId xmlns:a16="http://schemas.microsoft.com/office/drawing/2014/main" id="{C3CD8F91-F03F-4FCC-B79A-DF6B0922D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534" y="6312135"/>
            <a:ext cx="2160000" cy="389730"/>
          </a:xfrm>
          <a:prstGeom prst="rect">
            <a:avLst/>
          </a:prstGeom>
        </p:spPr>
      </p:pic>
      <p:pic>
        <p:nvPicPr>
          <p:cNvPr id="18" name="Logo Concretely">
            <a:extLst>
              <a:ext uri="{FF2B5EF4-FFF2-40B4-BE49-F238E27FC236}">
                <a16:creationId xmlns:a16="http://schemas.microsoft.com/office/drawing/2014/main" id="{58568ED3-CFC9-4B4C-90E5-4F76549278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295" y="6273397"/>
            <a:ext cx="1519113" cy="467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83343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86E0FA0-5109-4FA6-A254-7DA96514F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399190"/>
            <a:ext cx="8341087" cy="765537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en-DK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5" y="1304925"/>
            <a:ext cx="11472863" cy="466883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600"/>
            </a:lvl4pPr>
          </a:lstStyle>
          <a:p>
            <a:pPr lvl="0"/>
            <a:r>
              <a:rPr lang="en-DK" dirty="0"/>
              <a:t>Click to add text</a:t>
            </a:r>
            <a:endParaRPr lang="en-DK" noProof="0" dirty="0"/>
          </a:p>
          <a:p>
            <a:pPr lvl="1"/>
            <a:r>
              <a:rPr lang="en-DK" noProof="0" dirty="0" err="1"/>
              <a:t>Andet</a:t>
            </a:r>
            <a:r>
              <a:rPr lang="en-DK" noProof="0" dirty="0"/>
              <a:t> </a:t>
            </a:r>
            <a:r>
              <a:rPr lang="en-DK" noProof="0" dirty="0" err="1"/>
              <a:t>niveau</a:t>
            </a:r>
            <a:endParaRPr lang="en-DK" noProof="0" dirty="0"/>
          </a:p>
          <a:p>
            <a:pPr lvl="2"/>
            <a:r>
              <a:rPr lang="en-DK" noProof="0" dirty="0" err="1"/>
              <a:t>Tredje</a:t>
            </a:r>
            <a:r>
              <a:rPr lang="en-DK" noProof="0" dirty="0"/>
              <a:t> </a:t>
            </a:r>
            <a:r>
              <a:rPr lang="en-DK" noProof="0" dirty="0" err="1"/>
              <a:t>niveau</a:t>
            </a:r>
            <a:endParaRPr lang="en-DK" noProof="0" dirty="0"/>
          </a:p>
          <a:p>
            <a:pPr lvl="3"/>
            <a:r>
              <a:rPr lang="en-DK" noProof="0" dirty="0" err="1"/>
              <a:t>Fjerde</a:t>
            </a:r>
            <a:r>
              <a:rPr lang="en-DK" noProof="0" dirty="0"/>
              <a:t> </a:t>
            </a:r>
            <a:r>
              <a:rPr lang="en-DK" noProof="0" dirty="0" err="1"/>
              <a:t>niveau</a:t>
            </a:r>
            <a:endParaRPr lang="en-DK" noProof="0" dirty="0"/>
          </a:p>
          <a:p>
            <a:pPr lvl="4"/>
            <a:r>
              <a:rPr lang="en-DK" noProof="0" dirty="0" err="1"/>
              <a:t>Femte</a:t>
            </a:r>
            <a:r>
              <a:rPr lang="en-DK" noProof="0" dirty="0"/>
              <a:t> </a:t>
            </a:r>
            <a:r>
              <a:rPr lang="en-DK" noProof="0" dirty="0" err="1"/>
              <a:t>niveau</a:t>
            </a:r>
            <a:endParaRPr lang="en-DK" noProof="0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F1C15C2B-3B0D-47A4-BF5F-3DE2C094EF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9DD4FCBC-0CCE-47C7-AC3D-1810F03B8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9402E6A-EDD5-4B6D-B8AF-631837918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18BAD7F0-A89C-4D6D-8BFA-510B9A51B0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2560" y="248288"/>
            <a:ext cx="2847704" cy="57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103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E16989-ECC8-4328-96CF-FF09F25B3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8777" y="1304926"/>
            <a:ext cx="5592761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8874" y="1304926"/>
            <a:ext cx="5592764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CD1400F-BE91-4BCA-AC81-4C62F7E9B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E6DD5D9-2F9B-429C-B51F-8A039D6C8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AA9E4B5-4699-4004-98E9-E5D689E2A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003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130DED3-A517-40C7-B682-1BCC337E8D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8778" y="1304926"/>
            <a:ext cx="3632197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79901" y="1304926"/>
            <a:ext cx="7551738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3518C09-3E31-465B-A0E8-42A2F5AFE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45A712E-7949-4660-B3FA-093245FE2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23774E0-1DF4-445D-B40A-A34F9A6CB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541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8AFE6F3-FF68-4BAE-A9D9-52D919643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6" y="1304925"/>
            <a:ext cx="3632200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3CF90EF-9A04-47E5-87F5-7FE67AA17C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79900" y="1304925"/>
            <a:ext cx="3630613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4E493C0-4B1A-4436-A362-0AB8A4BF94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99438" y="1304925"/>
            <a:ext cx="3632200" cy="466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CC3A103-FF3A-460E-97A9-4381E27F37A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C453BC6-AF78-4A88-9458-299FF373328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AD9AF2D-0562-4B62-A061-332171A99A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715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753C00B-A49E-429C-8E23-50D3249256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6" y="1304925"/>
            <a:ext cx="1960562" cy="46688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9pPr marL="252000" indent="-252000">
              <a:defRPr sz="1200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3CF90EF-9A04-47E5-87F5-7FE67AA17C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11489" y="1304925"/>
            <a:ext cx="6167436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4E493C0-4B1A-4436-A362-0AB8A4BF94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71074" y="1304925"/>
            <a:ext cx="1960563" cy="4668837"/>
          </a:xfrm>
        </p:spPr>
        <p:txBody>
          <a:bodyPr/>
          <a:lstStyle>
            <a:lvl1pPr marL="0" indent="0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52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/>
            </a:lvl2pPr>
            <a:lvl3pPr marL="180000">
              <a:defRPr sz="1200"/>
            </a:lvl3pPr>
            <a:lvl4pPr>
              <a:defRPr sz="1200" b="1"/>
            </a:lvl4pPr>
            <a:lvl5pPr marL="252000" indent="-252000">
              <a:buFont typeface="+mj-lt"/>
              <a:buAutoNum type="arabicPeriod"/>
              <a:defRPr sz="1200" b="0"/>
            </a:lvl5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200" b="0"/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200" b="0"/>
            </a:lvl9pPr>
          </a:lstStyle>
          <a:p>
            <a:pPr lvl="0"/>
            <a:r>
              <a:rPr lang="en-GB"/>
              <a:t>9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1DE3784-9BDB-4097-8332-1DDF82FC295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C33C386-8103-45D1-A898-DC024BB83EA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9533F0E-8F89-4220-BF4B-3643FE0D6C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088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FC24A15-9044-4465-8417-27710245D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41899A-E3F8-4312-8ABF-0A7AB73DE6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961BE7-289B-4187-AD89-BEEA2E1722A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C9E4A-0771-4E43-89BD-641128B0D2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B647EA-FE1A-477D-B0D8-CA048AC54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04925"/>
            <a:ext cx="5592762" cy="315951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0" indent="0">
              <a:buFontTx/>
              <a:buNone/>
              <a:defRPr sz="1600"/>
            </a:lvl4pPr>
            <a:lvl5pPr>
              <a:buFontTx/>
              <a:buNone/>
              <a:defRPr sz="1600"/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9F0D8D7-EB40-4287-A461-C43B0405912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8776" y="1620876"/>
            <a:ext cx="5592762" cy="1918800"/>
          </a:xfr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  <a:p>
            <a:pPr lvl="0"/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894F140-51B5-4329-BEF0-D38C30C60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741815"/>
            <a:ext cx="5592762" cy="3168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/>
            </a:lvl1pPr>
            <a:lvl2pPr marL="0" indent="0">
              <a:spcBef>
                <a:spcPts val="0"/>
              </a:spcBef>
              <a:buFontTx/>
              <a:buNone/>
              <a:defRPr sz="1600" b="1"/>
            </a:lvl2pPr>
            <a:lvl3pPr marL="0" indent="0">
              <a:spcBef>
                <a:spcPts val="0"/>
              </a:spcBef>
              <a:buFontTx/>
              <a:buNone/>
              <a:defRPr sz="1600" b="1"/>
            </a:lvl3pPr>
            <a:lvl4pPr marL="0" indent="0">
              <a:spcBef>
                <a:spcPts val="0"/>
              </a:spcBef>
              <a:buFontTx/>
              <a:buNone/>
              <a:defRPr sz="1600" b="1"/>
            </a:lvl4pPr>
            <a:lvl5pPr>
              <a:spcBef>
                <a:spcPts val="0"/>
              </a:spcBef>
              <a:buFontTx/>
              <a:buNone/>
              <a:defRPr sz="1600" b="1"/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AEE30DF-2C09-41DF-A1B0-1BDDCC62604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776" y="4054963"/>
            <a:ext cx="5592762" cy="19188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2E7666A-A2EB-4EB4-A6AD-EE2C3F63A0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74" y="1304925"/>
            <a:ext cx="5592763" cy="31595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/>
            </a:lvl1pPr>
            <a:lvl2pPr marL="0" indent="0">
              <a:spcBef>
                <a:spcPts val="0"/>
              </a:spcBef>
              <a:buNone/>
              <a:tabLst/>
              <a:defRPr sz="1600" b="1"/>
            </a:lvl2pPr>
            <a:lvl3pPr marL="0" indent="0">
              <a:spcBef>
                <a:spcPts val="0"/>
              </a:spcBef>
              <a:buNone/>
              <a:tabLst/>
              <a:defRPr sz="1600" b="1"/>
            </a:lvl3pPr>
            <a:lvl4pPr marL="0" indent="0">
              <a:spcBef>
                <a:spcPts val="0"/>
              </a:spcBef>
              <a:buNone/>
              <a:defRPr sz="1600" b="1"/>
            </a:lvl4pPr>
            <a:lvl5pPr>
              <a:spcBef>
                <a:spcPts val="0"/>
              </a:spcBef>
              <a:buNone/>
              <a:defRPr sz="1600" b="1"/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5C0099D-6873-4F1E-88C6-A601CC7311D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38874" y="1620876"/>
            <a:ext cx="5592764" cy="191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B7DD459-D4EB-4962-8073-BF1FF6D9CB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874" y="3741815"/>
            <a:ext cx="5592764" cy="316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/>
            </a:lvl1pPr>
            <a:lvl2pPr marL="0" indent="0">
              <a:spcBef>
                <a:spcPts val="0"/>
              </a:spcBef>
              <a:buNone/>
              <a:defRPr sz="1600" b="1"/>
            </a:lvl2pPr>
            <a:lvl3pPr marL="0" indent="0">
              <a:spcBef>
                <a:spcPts val="0"/>
              </a:spcBef>
              <a:buNone/>
              <a:defRPr sz="1600" b="1"/>
            </a:lvl3pPr>
            <a:lvl4pPr marL="0" indent="0">
              <a:spcBef>
                <a:spcPts val="0"/>
              </a:spcBef>
              <a:buNone/>
              <a:defRPr sz="1600" b="1"/>
            </a:lvl4pPr>
            <a:lvl5pPr>
              <a:spcBef>
                <a:spcPts val="0"/>
              </a:spcBef>
              <a:buNone/>
              <a:defRPr sz="1600" b="1"/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9594372E-DEAA-4DAC-8365-7257A9758C1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75" y="4054963"/>
            <a:ext cx="5592763" cy="19188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495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60117DA-1AE5-43F3-997C-8C34FD91F3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8777" y="1304926"/>
            <a:ext cx="5592761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AFF2A4E-FFB1-480E-859D-B3822BE1B9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38875" y="1304926"/>
            <a:ext cx="5592763" cy="4668838"/>
          </a:xfrm>
          <a:solidFill>
            <a:schemeClr val="bg2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09AD017-D152-4779-9751-EE23C27C64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9344288-40E1-4781-9280-7BCC130067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5725264-4069-4AFF-9424-547F41181DE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9883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BF098D7-1B64-4AA8-93C1-6299E78AD2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8778" y="1304926"/>
            <a:ext cx="3632197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C874B5B-DD23-4F63-8B47-3F0C31F370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900" y="1304925"/>
            <a:ext cx="7551738" cy="4668838"/>
          </a:xfrm>
          <a:solidFill>
            <a:schemeClr val="bg2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C8617BA-0CB2-4FAE-B83F-5509E2B5D10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37833E9-D1BD-42EF-9D7B-970DF7686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10D1230-D2ED-47B8-8B02-B06AF8FCE2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168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EB64C756-E564-4DA5-A9C8-F7F1FC522F83}"/>
              </a:ext>
            </a:extLst>
          </p:cNvPr>
          <p:cNvSpPr/>
          <p:nvPr userDrawn="1"/>
        </p:nvSpPr>
        <p:spPr>
          <a:xfrm>
            <a:off x="1063" y="0"/>
            <a:ext cx="12190938" cy="68579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457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5" y="360001"/>
            <a:ext cx="6572249" cy="76553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58775" y="1304926"/>
            <a:ext cx="6572249" cy="4668838"/>
          </a:xfrm>
        </p:spPr>
        <p:txBody>
          <a:bodyPr/>
          <a:lstStyle>
            <a:lvl1pPr marL="432000" indent="-432000">
              <a:spcBef>
                <a:spcPts val="1300"/>
              </a:spcBef>
              <a:buClr>
                <a:schemeClr val="tx2"/>
              </a:buClr>
              <a:buSzPct val="100000"/>
              <a:buFont typeface="+mj-lt"/>
              <a:buAutoNum type="arabicPeriod"/>
              <a:defRPr sz="1800">
                <a:solidFill>
                  <a:schemeClr val="tx1"/>
                </a:solidFill>
              </a:defRPr>
            </a:lvl1pPr>
            <a:lvl2pPr marL="576000" indent="-144000">
              <a:spcBef>
                <a:spcPts val="0"/>
              </a:spcBef>
              <a:buFont typeface="Arial" panose="020B0604020202020204" pitchFamily="34" charset="0"/>
              <a:buChar char="•"/>
              <a:defRPr sz="1400" b="0"/>
            </a:lvl2pPr>
            <a:lvl3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3pPr>
            <a:lvl4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4pPr>
            <a:lvl5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5pPr>
            <a:lvl6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6pPr>
            <a:lvl7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7pPr>
            <a:lvl8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8pPr>
            <a:lvl9pPr marL="720000" indent="-144000">
              <a:spcBef>
                <a:spcPts val="0"/>
              </a:spcBef>
              <a:buFont typeface="Arial" panose="020B0604020202020204" pitchFamily="34" charset="0"/>
              <a:buChar char="•"/>
              <a:defRPr sz="1200" b="0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3A71FEAF-2E75-495B-826D-F2616B4112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19950" y="-1"/>
            <a:ext cx="4972049" cy="6154739"/>
          </a:xfrm>
          <a:solidFill>
            <a:schemeClr val="tx2"/>
          </a:solidFill>
        </p:spPr>
        <p:txBody>
          <a:bodyPr tIns="324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for at tilføje et billed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49F7AD6-07A6-4FBF-8E61-F20B13AAC95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D1A57A2-4835-4FE1-AA87-F9864621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2067F9A-A7E9-45F0-93E1-54843478AEC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op line">
            <a:extLst>
              <a:ext uri="{FF2B5EF4-FFF2-40B4-BE49-F238E27FC236}">
                <a16:creationId xmlns:a16="http://schemas.microsoft.com/office/drawing/2014/main" id="{9561C2B1-D9F4-4BA4-ADC8-01A6C20C8FAE}"/>
              </a:ext>
            </a:extLst>
          </p:cNvPr>
          <p:cNvSpPr/>
          <p:nvPr userDrawn="1"/>
        </p:nvSpPr>
        <p:spPr>
          <a:xfrm>
            <a:off x="245534" y="331723"/>
            <a:ext cx="45719" cy="385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pic>
        <p:nvPicPr>
          <p:cNvPr id="17" name="Logo Cementirholding">
            <a:extLst>
              <a:ext uri="{FF2B5EF4-FFF2-40B4-BE49-F238E27FC236}">
                <a16:creationId xmlns:a16="http://schemas.microsoft.com/office/drawing/2014/main" id="{C3CD8F91-F03F-4FCC-B79A-DF6B0922D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534" y="6312135"/>
            <a:ext cx="2160000" cy="389730"/>
          </a:xfrm>
          <a:prstGeom prst="rect">
            <a:avLst/>
          </a:prstGeom>
        </p:spPr>
      </p:pic>
      <p:pic>
        <p:nvPicPr>
          <p:cNvPr id="18" name="Logo Concretely">
            <a:extLst>
              <a:ext uri="{FF2B5EF4-FFF2-40B4-BE49-F238E27FC236}">
                <a16:creationId xmlns:a16="http://schemas.microsoft.com/office/drawing/2014/main" id="{58568ED3-CFC9-4B4C-90E5-4F76549278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295" y="6273397"/>
            <a:ext cx="1519113" cy="467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30474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431DD2-B7BB-40B4-9BB7-25DD710726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360001"/>
            <a:ext cx="5592762" cy="7655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238874" y="0"/>
            <a:ext cx="5953125" cy="6154738"/>
          </a:xfrm>
          <a:solidFill>
            <a:schemeClr val="bg2"/>
          </a:solidFill>
        </p:spPr>
        <p:txBody>
          <a:bodyPr tIns="324000"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9EA4B4A-2AF2-40C9-ABC7-50C99AEE95E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58776" y="1304925"/>
            <a:ext cx="5592762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610FDB-9204-4F6E-A82D-52FC364F9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4EDFFAA-4C4D-4302-BB38-27E012A1AB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8015097-D6A2-485A-96A7-6F6B90E6D2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683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C96E2B6B-DCCB-4B28-A789-3148F7EFE733}"/>
              </a:ext>
            </a:extLst>
          </p:cNvPr>
          <p:cNvSpPr/>
          <p:nvPr userDrawn="1"/>
        </p:nvSpPr>
        <p:spPr>
          <a:xfrm>
            <a:off x="1063" y="0"/>
            <a:ext cx="12190938" cy="6172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457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810AC4A-B76B-4C0B-8943-044B614CCDE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5951538" cy="6156000"/>
          </a:xfrm>
          <a:solidFill>
            <a:schemeClr val="tx2"/>
          </a:solidFill>
        </p:spPr>
        <p:txBody>
          <a:bodyPr tIns="324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238875" y="358776"/>
            <a:ext cx="5592763" cy="1757016"/>
          </a:xfrm>
          <a:prstGeom prst="rect">
            <a:avLst/>
          </a:prstGeom>
          <a:ln w="57150">
            <a:noFill/>
            <a:miter lim="800000"/>
          </a:ln>
        </p:spPr>
        <p:txBody>
          <a:bodyPr lIns="0" tIns="0" rIns="0" bIns="0" anchor="t" anchorCtr="0">
            <a:noAutofit/>
          </a:bodyPr>
          <a:lstStyle>
            <a:lvl1pPr algn="l"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breaker title in maximum three lines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731E0EE-3B1A-4748-9EA6-2A00208A3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74" y="2115791"/>
            <a:ext cx="5592764" cy="3857972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add text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BF87C3-0397-4BAF-8705-99146C76BB6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231DBB0-72CE-4599-95E2-95A131125A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3F05CCB2-6F48-4D53-88A7-210D1E2555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4217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263D2EC-74A3-4887-A62E-9D87B7773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776" y="399190"/>
            <a:ext cx="8589281" cy="76553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79376C0-52C1-4F88-8D47-CB172471D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F42028-72F2-4EAA-A2BA-2525B99E75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32723A3-CE3E-4678-9EB0-0EFC08430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1F6BFAD0-69E3-4FE8-86F7-175BE49617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2560" y="248288"/>
            <a:ext cx="2847704" cy="57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085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B268FB-FC2E-4F6A-8960-DF8B70D5B7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CBB60A-3208-4F9B-8C0E-65B9742BD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A5FB6B-20CC-40E2-B7DE-A293C680B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White background">
            <a:extLst>
              <a:ext uri="{FF2B5EF4-FFF2-40B4-BE49-F238E27FC236}">
                <a16:creationId xmlns:a16="http://schemas.microsoft.com/office/drawing/2014/main" id="{2BE4C21B-D648-40EA-A70F-49EF6231DFF9}"/>
              </a:ext>
            </a:extLst>
          </p:cNvPr>
          <p:cNvSpPr/>
          <p:nvPr userDrawn="1"/>
        </p:nvSpPr>
        <p:spPr>
          <a:xfrm>
            <a:off x="0" y="0"/>
            <a:ext cx="12192000" cy="615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9C621566-C57F-4B9B-9370-0B76E8540C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2560" y="248288"/>
            <a:ext cx="2847704" cy="57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967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lor background">
            <a:extLst>
              <a:ext uri="{FF2B5EF4-FFF2-40B4-BE49-F238E27FC236}">
                <a16:creationId xmlns:a16="http://schemas.microsoft.com/office/drawing/2014/main" id="{4D35A615-8907-4614-B236-A1130648DBB8}"/>
              </a:ext>
            </a:extLst>
          </p:cNvPr>
          <p:cNvSpPr/>
          <p:nvPr userDrawn="1"/>
        </p:nvSpPr>
        <p:spPr>
          <a:xfrm>
            <a:off x="0" y="26729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F9601B-0387-40D1-A04F-4A74DA7DD9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30" y="2898191"/>
            <a:ext cx="8530433" cy="765537"/>
          </a:xfrm>
        </p:spPr>
        <p:txBody>
          <a:bodyPr anchor="b" anchorCtr="0">
            <a:noAutofit/>
          </a:bodyPr>
          <a:lstStyle>
            <a:lvl1pPr algn="ctr">
              <a:defRPr sz="5200" b="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CD6CD8-FB7E-4B64-8EA4-5449102398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BD14CE-EB05-441E-BB0E-ED1BAEAB781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9D5EA8-7BA0-47A4-AA98-D69439B26AD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FB2FD23-A4D4-4A98-AD54-BBC18A3FFE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0129" y="3663823"/>
            <a:ext cx="8530433" cy="101938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title</a:t>
            </a:r>
            <a:endParaRPr lang="en-GB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98C5317-3E47-4F3E-BB5A-66952CDDC60C}"/>
              </a:ext>
            </a:extLst>
          </p:cNvPr>
          <p:cNvSpPr>
            <a:spLocks/>
          </p:cNvSpPr>
          <p:nvPr userDrawn="1"/>
        </p:nvSpPr>
        <p:spPr bwMode="auto">
          <a:xfrm>
            <a:off x="0" y="1"/>
            <a:ext cx="7219950" cy="6857999"/>
          </a:xfrm>
          <a:custGeom>
            <a:avLst/>
            <a:gdLst>
              <a:gd name="connsiteX0" fmla="*/ 1183157 w 7219950"/>
              <a:gd name="connsiteY0" fmla="*/ 3740029 h 6857999"/>
              <a:gd name="connsiteX1" fmla="*/ 3668664 w 7219950"/>
              <a:gd name="connsiteY1" fmla="*/ 6071286 h 6857999"/>
              <a:gd name="connsiteX2" fmla="*/ 5561626 w 7219950"/>
              <a:gd name="connsiteY2" fmla="*/ 5124462 h 6857999"/>
              <a:gd name="connsiteX3" fmla="*/ 7176212 w 7219950"/>
              <a:gd name="connsiteY3" fmla="*/ 5124462 h 6857999"/>
              <a:gd name="connsiteX4" fmla="*/ 5758976 w 7219950"/>
              <a:gd name="connsiteY4" fmla="*/ 6767481 h 6857999"/>
              <a:gd name="connsiteX5" fmla="*/ 5604162 w 7219950"/>
              <a:gd name="connsiteY5" fmla="*/ 6857999 h 6857999"/>
              <a:gd name="connsiteX6" fmla="*/ 1779879 w 7219950"/>
              <a:gd name="connsiteY6" fmla="*/ 6857999 h 6857999"/>
              <a:gd name="connsiteX7" fmla="*/ 1752385 w 7219950"/>
              <a:gd name="connsiteY7" fmla="*/ 6842843 h 6857999"/>
              <a:gd name="connsiteX8" fmla="*/ 829221 w 7219950"/>
              <a:gd name="connsiteY8" fmla="*/ 6099134 h 6857999"/>
              <a:gd name="connsiteX9" fmla="*/ 1183157 w 7219950"/>
              <a:gd name="connsiteY9" fmla="*/ 3740029 h 6857999"/>
              <a:gd name="connsiteX10" fmla="*/ 1843730 w 7219950"/>
              <a:gd name="connsiteY10" fmla="*/ 0 h 6857999"/>
              <a:gd name="connsiteX11" fmla="*/ 5510636 w 7219950"/>
              <a:gd name="connsiteY11" fmla="*/ 0 h 6857999"/>
              <a:gd name="connsiteX12" fmla="*/ 5642652 w 7219950"/>
              <a:gd name="connsiteY12" fmla="*/ 69827 h 6857999"/>
              <a:gd name="connsiteX13" fmla="*/ 7219950 w 7219950"/>
              <a:gd name="connsiteY13" fmla="*/ 1838463 h 6857999"/>
              <a:gd name="connsiteX14" fmla="*/ 5633206 w 7219950"/>
              <a:gd name="connsiteY14" fmla="*/ 1838463 h 6857999"/>
              <a:gd name="connsiteX15" fmla="*/ 3616968 w 7219950"/>
              <a:gd name="connsiteY15" fmla="*/ 840031 h 6857999"/>
              <a:gd name="connsiteX16" fmla="*/ 1171235 w 7219950"/>
              <a:gd name="connsiteY16" fmla="*/ 3278432 h 6857999"/>
              <a:gd name="connsiteX17" fmla="*/ 8894 w 7219950"/>
              <a:gd name="connsiteY17" fmla="*/ 4418564 h 6857999"/>
              <a:gd name="connsiteX18" fmla="*/ 0 w 7219950"/>
              <a:gd name="connsiteY18" fmla="*/ 4443570 h 6857999"/>
              <a:gd name="connsiteX19" fmla="*/ 0 w 7219950"/>
              <a:gd name="connsiteY19" fmla="*/ 2132641 h 6857999"/>
              <a:gd name="connsiteX20" fmla="*/ 93022 w 7219950"/>
              <a:gd name="connsiteY20" fmla="*/ 1899222 h 6857999"/>
              <a:gd name="connsiteX21" fmla="*/ 1800846 w 7219950"/>
              <a:gd name="connsiteY21" fmla="*/ 22431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7219950" h="6857999">
                <a:moveTo>
                  <a:pt x="1183157" y="3740029"/>
                </a:moveTo>
                <a:cubicBezTo>
                  <a:pt x="1334276" y="5021027"/>
                  <a:pt x="2431876" y="6071286"/>
                  <a:pt x="3668664" y="6071286"/>
                </a:cubicBezTo>
                <a:cubicBezTo>
                  <a:pt x="4674799" y="6071286"/>
                  <a:pt x="5223597" y="5478526"/>
                  <a:pt x="5561626" y="5124462"/>
                </a:cubicBezTo>
                <a:cubicBezTo>
                  <a:pt x="5561626" y="5124462"/>
                  <a:pt x="5561626" y="5124462"/>
                  <a:pt x="7176212" y="5124462"/>
                </a:cubicBezTo>
                <a:cubicBezTo>
                  <a:pt x="6881928" y="5816678"/>
                  <a:pt x="6373891" y="6378607"/>
                  <a:pt x="5758976" y="6767481"/>
                </a:cubicBezTo>
                <a:lnTo>
                  <a:pt x="5604162" y="6857999"/>
                </a:lnTo>
                <a:lnTo>
                  <a:pt x="1779879" y="6857999"/>
                </a:lnTo>
                <a:lnTo>
                  <a:pt x="1752385" y="6842843"/>
                </a:lnTo>
                <a:cubicBezTo>
                  <a:pt x="1408593" y="6641793"/>
                  <a:pt x="1097656" y="6390044"/>
                  <a:pt x="829221" y="6099134"/>
                </a:cubicBezTo>
                <a:cubicBezTo>
                  <a:pt x="646288" y="5605831"/>
                  <a:pt x="411656" y="4579441"/>
                  <a:pt x="1183157" y="3740029"/>
                </a:cubicBezTo>
                <a:close/>
                <a:moveTo>
                  <a:pt x="1843730" y="0"/>
                </a:moveTo>
                <a:lnTo>
                  <a:pt x="5510636" y="0"/>
                </a:lnTo>
                <a:lnTo>
                  <a:pt x="5642652" y="69827"/>
                </a:lnTo>
                <a:cubicBezTo>
                  <a:pt x="6283414" y="438272"/>
                  <a:pt x="6858061" y="1013066"/>
                  <a:pt x="7219950" y="1838463"/>
                </a:cubicBezTo>
                <a:cubicBezTo>
                  <a:pt x="7219950" y="1838463"/>
                  <a:pt x="7219950" y="1838463"/>
                  <a:pt x="5633206" y="1838463"/>
                </a:cubicBezTo>
                <a:cubicBezTo>
                  <a:pt x="5092361" y="1217924"/>
                  <a:pt x="4452098" y="840031"/>
                  <a:pt x="3616968" y="840031"/>
                </a:cubicBezTo>
                <a:cubicBezTo>
                  <a:pt x="2443811" y="840031"/>
                  <a:pt x="1258724" y="1858352"/>
                  <a:pt x="1171235" y="3278432"/>
                </a:cubicBezTo>
                <a:cubicBezTo>
                  <a:pt x="969909" y="3349288"/>
                  <a:pt x="324688" y="3629910"/>
                  <a:pt x="8894" y="4418564"/>
                </a:cubicBezTo>
                <a:lnTo>
                  <a:pt x="0" y="4443570"/>
                </a:lnTo>
                <a:lnTo>
                  <a:pt x="0" y="2132641"/>
                </a:lnTo>
                <a:lnTo>
                  <a:pt x="93022" y="1899222"/>
                </a:lnTo>
                <a:cubicBezTo>
                  <a:pt x="438303" y="1110138"/>
                  <a:pt x="1041126" y="443726"/>
                  <a:pt x="1800846" y="2243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4141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358776" y="358775"/>
            <a:ext cx="11472862" cy="79068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</a:t>
            </a:r>
            <a:endParaRPr lang="en-GB" sz="1800" dirty="0">
              <a:solidFill>
                <a:schemeClr val="tx1"/>
              </a:solidFill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358777" y="1661816"/>
            <a:ext cx="2347132" cy="4001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</a:t>
            </a:r>
            <a:b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s. Click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</a:t>
            </a:r>
            <a:br>
              <a:rPr lang="en-GB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 </a:t>
            </a:r>
            <a:r>
              <a:rPr lang="en-GB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a New Slide</a:t>
            </a: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10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10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. 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slide layouts</a:t>
            </a:r>
            <a:endParaRPr lang="en-GB" sz="1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10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 will be applied to the new slide</a:t>
            </a:r>
            <a:endParaRPr lang="en-GB" sz="1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10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016853" y="1661816"/>
            <a:ext cx="2336657" cy="4385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icon and choos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10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10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10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10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9871075" y="1661816"/>
            <a:ext cx="2302667" cy="3077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ck mark next to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10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909" y="2669209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39303" y="350427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5293" y="4396961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6291" y="5009533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75659" y="1861953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256291" y="2571793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33996" y="3168962"/>
            <a:ext cx="359695" cy="335309"/>
          </a:xfrm>
          <a:prstGeom prst="rect">
            <a:avLst/>
          </a:prstGeom>
        </p:spPr>
      </p:pic>
      <p:sp>
        <p:nvSpPr>
          <p:cNvPr id="14" name="Text Box 3">
            <a:extLst>
              <a:ext uri="{FF2B5EF4-FFF2-40B4-BE49-F238E27FC236}">
                <a16:creationId xmlns:a16="http://schemas.microsoft.com/office/drawing/2014/main" id="{7EDB3106-CA7B-4297-9FB6-2CD47320EB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220880" y="1661816"/>
            <a:ext cx="1958046" cy="13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 picture grey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inserted picture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lick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under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 Tool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op down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b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y Accent color 2 Dark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2E8AE3-B2DC-4E14-A51A-71F0DC97D9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76426" y="2388725"/>
            <a:ext cx="302500" cy="496964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5AA35DB7-7BA8-4299-B05E-C2539F47BBFF}"/>
              </a:ext>
            </a:extLst>
          </p:cNvPr>
          <p:cNvGrpSpPr/>
          <p:nvPr userDrawn="1"/>
        </p:nvGrpSpPr>
        <p:grpSpPr>
          <a:xfrm>
            <a:off x="7220880" y="3101727"/>
            <a:ext cx="1958045" cy="2608933"/>
            <a:chOff x="10245108" y="3336616"/>
            <a:chExt cx="1544337" cy="205770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BB8F977-9322-419B-8552-B30FBD31AC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45108" y="3336616"/>
              <a:ext cx="1544337" cy="2057701"/>
            </a:xfrm>
            <a:prstGeom prst="rect">
              <a:avLst/>
            </a:prstGeom>
          </p:spPr>
        </p:pic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B216A5C5-E5DA-4859-86C1-FA42EC979C20}"/>
                </a:ext>
              </a:extLst>
            </p:cNvPr>
            <p:cNvSpPr/>
            <p:nvPr userDrawn="1"/>
          </p:nvSpPr>
          <p:spPr>
            <a:xfrm>
              <a:off x="10729182" y="4471884"/>
              <a:ext cx="268300" cy="343734"/>
            </a:xfrm>
            <a:prstGeom prst="roundRect">
              <a:avLst/>
            </a:prstGeom>
            <a:noFill/>
            <a:ln w="381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99113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nktopsti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637029" y="271848"/>
            <a:ext cx="3123601" cy="12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379363" y="1488931"/>
            <a:ext cx="11381267" cy="1457455"/>
          </a:xfrm>
          <a:prstGeom prst="rect">
            <a:avLst/>
          </a:prstGeom>
          <a:solidFill>
            <a:schemeClr val="bg1"/>
          </a:solidFill>
        </p:spPr>
        <p:txBody>
          <a:bodyPr wrap="square" lIns="288000" tIns="144000" rIns="252000" bIns="324000">
            <a:spAutoFit/>
          </a:bodyPr>
          <a:lstStyle>
            <a:lvl1pPr marL="342900" indent="-342900">
              <a:buClr>
                <a:srgbClr val="C62247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742950" indent="-285750">
              <a:buClr>
                <a:srgbClr val="C62247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1143000" indent="-228600">
              <a:buClr>
                <a:srgbClr val="C62247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600200" indent="-228600">
              <a:buClr>
                <a:srgbClr val="C62247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2057400" indent="-228600">
              <a:buClr>
                <a:srgbClr val="C62247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en-US" dirty="0" err="1"/>
              <a:t>Tilføj</a:t>
            </a:r>
            <a:r>
              <a:rPr lang="en-US" dirty="0"/>
              <a:t> </a:t>
            </a:r>
            <a:r>
              <a:rPr lang="en-US" dirty="0" err="1"/>
              <a:t>punkt</a:t>
            </a:r>
            <a:endParaRPr lang="en-US" dirty="0"/>
          </a:p>
          <a:p>
            <a:pPr lvl="1"/>
            <a:r>
              <a:rPr lang="en-US" dirty="0"/>
              <a:t>2. level</a:t>
            </a:r>
          </a:p>
          <a:p>
            <a:pPr lvl="2"/>
            <a:r>
              <a:rPr lang="en-US" dirty="0"/>
              <a:t>3.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1137" y="272108"/>
            <a:ext cx="8255892" cy="1224136"/>
          </a:xfrm>
          <a:prstGeom prst="rect">
            <a:avLst/>
          </a:prstGeom>
          <a:solidFill>
            <a:schemeClr val="bg1"/>
          </a:solidFill>
        </p:spPr>
        <p:txBody>
          <a:bodyPr lIns="288000" tIns="180000" rIns="252000" bIns="180000">
            <a:noAutofit/>
          </a:bodyPr>
          <a:lstStyle>
            <a:lvl1pPr marL="0" indent="0">
              <a:buNone/>
              <a:defRPr sz="3000" baseline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>
              <a:buNone/>
              <a:defRPr sz="28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914400" indent="0">
              <a:buNone/>
              <a:defRPr sz="28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371600" indent="0">
              <a:buNone/>
              <a:defRPr sz="28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1828800" indent="0">
              <a:buNone/>
              <a:defRPr sz="28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en-US" dirty="0" err="1"/>
              <a:t>Tilføj</a:t>
            </a:r>
            <a:r>
              <a:rPr lang="en-US" dirty="0"/>
              <a:t> </a:t>
            </a:r>
            <a:r>
              <a:rPr lang="en-US" dirty="0" err="1"/>
              <a:t>Overskrift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6119" y="501055"/>
            <a:ext cx="1778000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183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507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0" y="5295900"/>
            <a:ext cx="12192000" cy="157881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pic>
        <p:nvPicPr>
          <p:cNvPr id="49" name="Picture 4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4" r="150" b="19343"/>
          <a:stretch/>
        </p:blipFill>
        <p:spPr>
          <a:xfrm>
            <a:off x="0" y="0"/>
            <a:ext cx="12192000" cy="5295900"/>
          </a:xfrm>
          <a:prstGeom prst="rect">
            <a:avLst/>
          </a:prstGeom>
        </p:spPr>
      </p:pic>
      <p:sp>
        <p:nvSpPr>
          <p:cNvPr id="51" name="Rectangle 5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sp>
        <p:nvSpPr>
          <p:cNvPr id="28" name="Text Placeholder 6"/>
          <p:cNvSpPr>
            <a:spLocks noGrp="1"/>
          </p:cNvSpPr>
          <p:nvPr userDrawn="1"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rtlCol="0"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 rtl="0"/>
            <a:r>
              <a:rPr lang="da-DK"/>
              <a:t>Click to edit date/place</a:t>
            </a:r>
          </a:p>
        </p:txBody>
      </p:sp>
      <p:sp>
        <p:nvSpPr>
          <p:cNvPr id="29" name="Subtitle 2"/>
          <p:cNvSpPr>
            <a:spLocks noGrp="1"/>
          </p:cNvSpPr>
          <p:nvPr userDrawn="1"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Subtitle in sentence case</a:t>
            </a:r>
          </a:p>
        </p:txBody>
      </p:sp>
      <p:sp>
        <p:nvSpPr>
          <p:cNvPr id="30" name="Title 1"/>
          <p:cNvSpPr>
            <a:spLocks noGrp="1"/>
          </p:cNvSpPr>
          <p:nvPr userDrawn="1"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Title in Title Case</a:t>
            </a:r>
          </a:p>
        </p:txBody>
      </p:sp>
      <p:pic>
        <p:nvPicPr>
          <p:cNvPr id="241947" name="Picture 283" descr="Billedresultat for klimapartnerskaber logo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630" y="5567135"/>
            <a:ext cx="2343641" cy="920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623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208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7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 flipH="1"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rtlCol="0"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 rtl="0"/>
            <a:r>
              <a:rPr lang="da-DK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Title in Title Case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17415" y="932267"/>
            <a:ext cx="1617396" cy="766671"/>
            <a:chOff x="2895137" y="1059267"/>
            <a:chExt cx="3525692" cy="1671233"/>
          </a:xfrm>
        </p:grpSpPr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3605828" y="1638553"/>
              <a:ext cx="360897" cy="512660"/>
            </a:xfrm>
            <a:custGeom>
              <a:avLst/>
              <a:gdLst>
                <a:gd name="T0" fmla="*/ 69 w 82"/>
                <a:gd name="T1" fmla="*/ 15 h 117"/>
                <a:gd name="T2" fmla="*/ 62 w 82"/>
                <a:gd name="T3" fmla="*/ 10 h 117"/>
                <a:gd name="T4" fmla="*/ 32 w 82"/>
                <a:gd name="T5" fmla="*/ 0 h 117"/>
                <a:gd name="T6" fmla="*/ 0 w 82"/>
                <a:gd name="T7" fmla="*/ 0 h 117"/>
                <a:gd name="T8" fmla="*/ 0 w 82"/>
                <a:gd name="T9" fmla="*/ 59 h 117"/>
                <a:gd name="T10" fmla="*/ 0 w 82"/>
                <a:gd name="T11" fmla="*/ 117 h 117"/>
                <a:gd name="T12" fmla="*/ 32 w 82"/>
                <a:gd name="T13" fmla="*/ 117 h 117"/>
                <a:gd name="T14" fmla="*/ 62 w 82"/>
                <a:gd name="T15" fmla="*/ 107 h 117"/>
                <a:gd name="T16" fmla="*/ 69 w 82"/>
                <a:gd name="T17" fmla="*/ 102 h 117"/>
                <a:gd name="T18" fmla="*/ 74 w 82"/>
                <a:gd name="T19" fmla="*/ 95 h 117"/>
                <a:gd name="T20" fmla="*/ 82 w 82"/>
                <a:gd name="T21" fmla="*/ 66 h 117"/>
                <a:gd name="T22" fmla="*/ 82 w 82"/>
                <a:gd name="T23" fmla="*/ 59 h 117"/>
                <a:gd name="T24" fmla="*/ 82 w 82"/>
                <a:gd name="T25" fmla="*/ 51 h 117"/>
                <a:gd name="T26" fmla="*/ 74 w 82"/>
                <a:gd name="T27" fmla="*/ 22 h 117"/>
                <a:gd name="T28" fmla="*/ 69 w 82"/>
                <a:gd name="T29" fmla="*/ 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17">
                  <a:moveTo>
                    <a:pt x="69" y="15"/>
                  </a:moveTo>
                  <a:cubicBezTo>
                    <a:pt x="67" y="13"/>
                    <a:pt x="65" y="11"/>
                    <a:pt x="62" y="10"/>
                  </a:cubicBezTo>
                  <a:cubicBezTo>
                    <a:pt x="53" y="3"/>
                    <a:pt x="43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43" y="117"/>
                    <a:pt x="53" y="114"/>
                    <a:pt x="62" y="107"/>
                  </a:cubicBezTo>
                  <a:cubicBezTo>
                    <a:pt x="65" y="106"/>
                    <a:pt x="67" y="104"/>
                    <a:pt x="69" y="102"/>
                  </a:cubicBezTo>
                  <a:cubicBezTo>
                    <a:pt x="71" y="100"/>
                    <a:pt x="72" y="97"/>
                    <a:pt x="74" y="95"/>
                  </a:cubicBezTo>
                  <a:cubicBezTo>
                    <a:pt x="79" y="87"/>
                    <a:pt x="82" y="76"/>
                    <a:pt x="82" y="66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41"/>
                    <a:pt x="79" y="30"/>
                    <a:pt x="74" y="22"/>
                  </a:cubicBezTo>
                  <a:cubicBezTo>
                    <a:pt x="72" y="20"/>
                    <a:pt x="71" y="17"/>
                    <a:pt x="69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29"/>
            <p:cNvSpPr>
              <a:spLocks noEditPoints="1"/>
            </p:cNvSpPr>
            <p:nvPr userDrawn="1"/>
          </p:nvSpPr>
          <p:spPr bwMode="auto">
            <a:xfrm>
              <a:off x="2895137" y="1059267"/>
              <a:ext cx="167678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75 w 382"/>
                <a:gd name="T11" fmla="*/ 191 h 381"/>
                <a:gd name="T12" fmla="*/ 275 w 382"/>
                <a:gd name="T13" fmla="*/ 198 h 381"/>
                <a:gd name="T14" fmla="*/ 263 w 382"/>
                <a:gd name="T15" fmla="*/ 242 h 381"/>
                <a:gd name="T16" fmla="*/ 255 w 382"/>
                <a:gd name="T17" fmla="*/ 252 h 381"/>
                <a:gd name="T18" fmla="*/ 244 w 382"/>
                <a:gd name="T19" fmla="*/ 262 h 381"/>
                <a:gd name="T20" fmla="*/ 194 w 382"/>
                <a:gd name="T21" fmla="*/ 276 h 381"/>
                <a:gd name="T22" fmla="*/ 162 w 382"/>
                <a:gd name="T23" fmla="*/ 276 h 381"/>
                <a:gd name="T24" fmla="*/ 146 w 382"/>
                <a:gd name="T25" fmla="*/ 276 h 381"/>
                <a:gd name="T26" fmla="*/ 130 w 382"/>
                <a:gd name="T27" fmla="*/ 259 h 381"/>
                <a:gd name="T28" fmla="*/ 130 w 382"/>
                <a:gd name="T29" fmla="*/ 249 h 381"/>
                <a:gd name="T30" fmla="*/ 130 w 382"/>
                <a:gd name="T31" fmla="*/ 191 h 381"/>
                <a:gd name="T32" fmla="*/ 130 w 382"/>
                <a:gd name="T33" fmla="*/ 132 h 381"/>
                <a:gd name="T34" fmla="*/ 130 w 382"/>
                <a:gd name="T35" fmla="*/ 122 h 381"/>
                <a:gd name="T36" fmla="*/ 146 w 382"/>
                <a:gd name="T37" fmla="*/ 105 h 381"/>
                <a:gd name="T38" fmla="*/ 162 w 382"/>
                <a:gd name="T39" fmla="*/ 105 h 381"/>
                <a:gd name="T40" fmla="*/ 194 w 382"/>
                <a:gd name="T41" fmla="*/ 105 h 381"/>
                <a:gd name="T42" fmla="*/ 244 w 382"/>
                <a:gd name="T43" fmla="*/ 120 h 381"/>
                <a:gd name="T44" fmla="*/ 255 w 382"/>
                <a:gd name="T45" fmla="*/ 129 h 381"/>
                <a:gd name="T46" fmla="*/ 263 w 382"/>
                <a:gd name="T47" fmla="*/ 139 h 381"/>
                <a:gd name="T48" fmla="*/ 275 w 382"/>
                <a:gd name="T49" fmla="*/ 183 h 381"/>
                <a:gd name="T50" fmla="*/ 275 w 382"/>
                <a:gd name="T51" fmla="*/ 19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6" y="0"/>
                    <a:pt x="0" y="85"/>
                    <a:pt x="0" y="191"/>
                  </a:cubicBezTo>
                  <a:cubicBezTo>
                    <a:pt x="0" y="296"/>
                    <a:pt x="86" y="381"/>
                    <a:pt x="191" y="381"/>
                  </a:cubicBezTo>
                  <a:cubicBezTo>
                    <a:pt x="297" y="381"/>
                    <a:pt x="382" y="296"/>
                    <a:pt x="382" y="191"/>
                  </a:cubicBezTo>
                  <a:cubicBezTo>
                    <a:pt x="382" y="85"/>
                    <a:pt x="297" y="0"/>
                    <a:pt x="191" y="0"/>
                  </a:cubicBezTo>
                  <a:close/>
                  <a:moveTo>
                    <a:pt x="275" y="191"/>
                  </a:moveTo>
                  <a:cubicBezTo>
                    <a:pt x="275" y="198"/>
                    <a:pt x="275" y="198"/>
                    <a:pt x="275" y="198"/>
                  </a:cubicBezTo>
                  <a:cubicBezTo>
                    <a:pt x="275" y="214"/>
                    <a:pt x="271" y="229"/>
                    <a:pt x="263" y="242"/>
                  </a:cubicBezTo>
                  <a:cubicBezTo>
                    <a:pt x="260" y="246"/>
                    <a:pt x="258" y="249"/>
                    <a:pt x="255" y="252"/>
                  </a:cubicBezTo>
                  <a:cubicBezTo>
                    <a:pt x="251" y="256"/>
                    <a:pt x="248" y="259"/>
                    <a:pt x="244" y="262"/>
                  </a:cubicBezTo>
                  <a:cubicBezTo>
                    <a:pt x="231" y="271"/>
                    <a:pt x="211" y="276"/>
                    <a:pt x="194" y="276"/>
                  </a:cubicBezTo>
                  <a:cubicBezTo>
                    <a:pt x="162" y="276"/>
                    <a:pt x="162" y="276"/>
                    <a:pt x="162" y="276"/>
                  </a:cubicBezTo>
                  <a:cubicBezTo>
                    <a:pt x="146" y="276"/>
                    <a:pt x="146" y="276"/>
                    <a:pt x="146" y="276"/>
                  </a:cubicBezTo>
                  <a:cubicBezTo>
                    <a:pt x="137" y="276"/>
                    <a:pt x="130" y="268"/>
                    <a:pt x="130" y="259"/>
                  </a:cubicBezTo>
                  <a:cubicBezTo>
                    <a:pt x="130" y="249"/>
                    <a:pt x="130" y="249"/>
                    <a:pt x="130" y="249"/>
                  </a:cubicBezTo>
                  <a:cubicBezTo>
                    <a:pt x="130" y="191"/>
                    <a:pt x="130" y="191"/>
                    <a:pt x="130" y="191"/>
                  </a:cubicBezTo>
                  <a:cubicBezTo>
                    <a:pt x="130" y="132"/>
                    <a:pt x="130" y="132"/>
                    <a:pt x="130" y="132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0" y="113"/>
                    <a:pt x="137" y="105"/>
                    <a:pt x="146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94" y="105"/>
                    <a:pt x="194" y="105"/>
                    <a:pt x="194" y="105"/>
                  </a:cubicBezTo>
                  <a:cubicBezTo>
                    <a:pt x="211" y="105"/>
                    <a:pt x="231" y="110"/>
                    <a:pt x="244" y="120"/>
                  </a:cubicBezTo>
                  <a:cubicBezTo>
                    <a:pt x="248" y="122"/>
                    <a:pt x="251" y="125"/>
                    <a:pt x="255" y="129"/>
                  </a:cubicBezTo>
                  <a:cubicBezTo>
                    <a:pt x="258" y="132"/>
                    <a:pt x="260" y="135"/>
                    <a:pt x="263" y="139"/>
                  </a:cubicBezTo>
                  <a:cubicBezTo>
                    <a:pt x="271" y="152"/>
                    <a:pt x="275" y="167"/>
                    <a:pt x="275" y="183"/>
                  </a:cubicBezTo>
                  <a:lnTo>
                    <a:pt x="275" y="1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4742193" y="1059267"/>
              <a:ext cx="167863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07 w 382"/>
                <a:gd name="T11" fmla="*/ 260 h 381"/>
                <a:gd name="T12" fmla="*/ 191 w 382"/>
                <a:gd name="T13" fmla="*/ 276 h 381"/>
                <a:gd name="T14" fmla="*/ 174 w 382"/>
                <a:gd name="T15" fmla="*/ 260 h 381"/>
                <a:gd name="T16" fmla="*/ 174 w 382"/>
                <a:gd name="T17" fmla="*/ 121 h 381"/>
                <a:gd name="T18" fmla="*/ 191 w 382"/>
                <a:gd name="T19" fmla="*/ 105 h 381"/>
                <a:gd name="T20" fmla="*/ 207 w 382"/>
                <a:gd name="T21" fmla="*/ 121 h 381"/>
                <a:gd name="T22" fmla="*/ 207 w 382"/>
                <a:gd name="T23" fmla="*/ 26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5" y="0"/>
                    <a:pt x="0" y="85"/>
                    <a:pt x="0" y="191"/>
                  </a:cubicBezTo>
                  <a:cubicBezTo>
                    <a:pt x="0" y="296"/>
                    <a:pt x="85" y="381"/>
                    <a:pt x="191" y="381"/>
                  </a:cubicBezTo>
                  <a:cubicBezTo>
                    <a:pt x="296" y="381"/>
                    <a:pt x="382" y="296"/>
                    <a:pt x="382" y="191"/>
                  </a:cubicBezTo>
                  <a:cubicBezTo>
                    <a:pt x="382" y="85"/>
                    <a:pt x="296" y="0"/>
                    <a:pt x="191" y="0"/>
                  </a:cubicBezTo>
                  <a:close/>
                  <a:moveTo>
                    <a:pt x="207" y="260"/>
                  </a:moveTo>
                  <a:cubicBezTo>
                    <a:pt x="207" y="269"/>
                    <a:pt x="200" y="276"/>
                    <a:pt x="191" y="276"/>
                  </a:cubicBezTo>
                  <a:cubicBezTo>
                    <a:pt x="182" y="276"/>
                    <a:pt x="174" y="269"/>
                    <a:pt x="174" y="260"/>
                  </a:cubicBezTo>
                  <a:cubicBezTo>
                    <a:pt x="174" y="121"/>
                    <a:pt x="174" y="121"/>
                    <a:pt x="174" y="121"/>
                  </a:cubicBezTo>
                  <a:cubicBezTo>
                    <a:pt x="174" y="112"/>
                    <a:pt x="182" y="105"/>
                    <a:pt x="191" y="105"/>
                  </a:cubicBezTo>
                  <a:cubicBezTo>
                    <a:pt x="200" y="105"/>
                    <a:pt x="207" y="112"/>
                    <a:pt x="207" y="121"/>
                  </a:cubicBezTo>
                  <a:lnTo>
                    <a:pt x="207" y="260"/>
                  </a:lnTo>
                  <a:close/>
                </a:path>
              </a:pathLst>
            </a:custGeom>
            <a:solidFill>
              <a:srgbClr val="FFFFFF">
                <a:alpha val="59000"/>
              </a:srgbClr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49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491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da-DK" sz="28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0" i="0" u="none" kern="1200" spc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944191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86E0FA0-5109-4FA6-A254-7DA96514FA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5" y="1304925"/>
            <a:ext cx="11472863" cy="466883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F1C15C2B-3B0D-47A4-BF5F-3DE2C094EF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9DD4FCBC-0CCE-47C7-AC3D-1810F03B8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9402E6A-EDD5-4B6D-B8AF-631837918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406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 rtlCol="0"/>
          <a:lstStyle>
            <a:lvl1pPr>
              <a:defRPr sz="3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  <a:prstGeom prst="rect">
            <a:avLst/>
          </a:prstGeom>
        </p:spPr>
        <p:txBody>
          <a:bodyPr rtlCol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 rtl="0"/>
            <a:r>
              <a:rPr lang="da-DK"/>
              <a:t>Edit Master text styles</a:t>
            </a:r>
          </a:p>
          <a:p>
            <a:pPr lvl="1" rtl="0"/>
            <a:r>
              <a:rPr lang="da-DK"/>
              <a:t>Second level</a:t>
            </a:r>
          </a:p>
          <a:p>
            <a:pPr lvl="2" rtl="0"/>
            <a:r>
              <a:rPr lang="da-DK"/>
              <a:t>Third level</a:t>
            </a:r>
          </a:p>
          <a:p>
            <a:pPr lvl="3" rtl="0"/>
            <a:r>
              <a:rPr lang="da-DK"/>
              <a:t>Fourth level</a:t>
            </a:r>
          </a:p>
          <a:p>
            <a:pPr lvl="4" rtl="0"/>
            <a:r>
              <a:rPr lang="da-DK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509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1546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rtlCol="0" anchor="b">
            <a:noAutofit/>
          </a:bodyPr>
          <a:lstStyle>
            <a:lvl1pPr>
              <a:defRPr sz="32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7881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7168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rtlCol="0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8320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885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32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3982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585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8615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95647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8032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 rtlCol="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r>
              <a:rPr lang="da-DK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rtlCol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00321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 rtlCol="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r>
              <a:rPr lang="da-DK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937417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BE16989-ECC8-4328-96CF-FF09F25B3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8777" y="1304926"/>
            <a:ext cx="5592761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38874" y="1304926"/>
            <a:ext cx="5592764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CD1400F-BE91-4BCA-AC81-4C62F7E9B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3E6DD5D9-2F9B-429C-B51F-8A039D6C8F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0AA9E4B5-4699-4004-98E9-E5D689E2A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953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3322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2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3200" baseline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0126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rtlCol="0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0021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33805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4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 b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2573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0257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1464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46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6003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192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3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328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 rtl="0"/>
            <a:r>
              <a:rPr lang="da-DK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7708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29681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270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 w="1079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58840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130DED3-A517-40C7-B682-1BCC337E8D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8778" y="1304926"/>
            <a:ext cx="3632197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79901" y="1304926"/>
            <a:ext cx="7551738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3518C09-3E31-465B-A0E8-42A2F5AFED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45A712E-7949-4660-B3FA-093245FE2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23774E0-1DF4-445D-B40A-A34F9A6CB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2383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2121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575757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rtl="0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1620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rtlCol="0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286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896695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596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8529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7091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25" b="7216"/>
          <a:stretch/>
        </p:blipFill>
        <p:spPr>
          <a:xfrm flipH="1">
            <a:off x="0" y="-18854"/>
            <a:ext cx="12192000" cy="6881567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solidFill>
            <a:srgbClr val="FFFFFF">
              <a:alpha val="79000"/>
            </a:srgbClr>
          </a:soli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21276" y="2027867"/>
            <a:ext cx="6944521" cy="3400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00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7489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TitleAndEndImages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014220" y="2594978"/>
            <a:ext cx="3358634" cy="1592045"/>
            <a:chOff x="2895137" y="1059267"/>
            <a:chExt cx="3525692" cy="1671233"/>
          </a:xfrm>
        </p:grpSpPr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3605828" y="1638553"/>
              <a:ext cx="360897" cy="512660"/>
            </a:xfrm>
            <a:custGeom>
              <a:avLst/>
              <a:gdLst>
                <a:gd name="T0" fmla="*/ 69 w 82"/>
                <a:gd name="T1" fmla="*/ 15 h 117"/>
                <a:gd name="T2" fmla="*/ 62 w 82"/>
                <a:gd name="T3" fmla="*/ 10 h 117"/>
                <a:gd name="T4" fmla="*/ 32 w 82"/>
                <a:gd name="T5" fmla="*/ 0 h 117"/>
                <a:gd name="T6" fmla="*/ 0 w 82"/>
                <a:gd name="T7" fmla="*/ 0 h 117"/>
                <a:gd name="T8" fmla="*/ 0 w 82"/>
                <a:gd name="T9" fmla="*/ 59 h 117"/>
                <a:gd name="T10" fmla="*/ 0 w 82"/>
                <a:gd name="T11" fmla="*/ 117 h 117"/>
                <a:gd name="T12" fmla="*/ 32 w 82"/>
                <a:gd name="T13" fmla="*/ 117 h 117"/>
                <a:gd name="T14" fmla="*/ 62 w 82"/>
                <a:gd name="T15" fmla="*/ 107 h 117"/>
                <a:gd name="T16" fmla="*/ 69 w 82"/>
                <a:gd name="T17" fmla="*/ 102 h 117"/>
                <a:gd name="T18" fmla="*/ 74 w 82"/>
                <a:gd name="T19" fmla="*/ 95 h 117"/>
                <a:gd name="T20" fmla="*/ 82 w 82"/>
                <a:gd name="T21" fmla="*/ 66 h 117"/>
                <a:gd name="T22" fmla="*/ 82 w 82"/>
                <a:gd name="T23" fmla="*/ 59 h 117"/>
                <a:gd name="T24" fmla="*/ 82 w 82"/>
                <a:gd name="T25" fmla="*/ 51 h 117"/>
                <a:gd name="T26" fmla="*/ 74 w 82"/>
                <a:gd name="T27" fmla="*/ 22 h 117"/>
                <a:gd name="T28" fmla="*/ 69 w 82"/>
                <a:gd name="T29" fmla="*/ 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17">
                  <a:moveTo>
                    <a:pt x="69" y="15"/>
                  </a:moveTo>
                  <a:cubicBezTo>
                    <a:pt x="67" y="13"/>
                    <a:pt x="65" y="11"/>
                    <a:pt x="62" y="10"/>
                  </a:cubicBezTo>
                  <a:cubicBezTo>
                    <a:pt x="53" y="3"/>
                    <a:pt x="43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43" y="117"/>
                    <a:pt x="53" y="114"/>
                    <a:pt x="62" y="107"/>
                  </a:cubicBezTo>
                  <a:cubicBezTo>
                    <a:pt x="65" y="106"/>
                    <a:pt x="67" y="104"/>
                    <a:pt x="69" y="102"/>
                  </a:cubicBezTo>
                  <a:cubicBezTo>
                    <a:pt x="71" y="100"/>
                    <a:pt x="72" y="97"/>
                    <a:pt x="74" y="95"/>
                  </a:cubicBezTo>
                  <a:cubicBezTo>
                    <a:pt x="79" y="87"/>
                    <a:pt x="82" y="76"/>
                    <a:pt x="82" y="66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41"/>
                    <a:pt x="79" y="30"/>
                    <a:pt x="74" y="22"/>
                  </a:cubicBezTo>
                  <a:cubicBezTo>
                    <a:pt x="72" y="20"/>
                    <a:pt x="71" y="17"/>
                    <a:pt x="69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auto">
            <a:xfrm>
              <a:off x="2895137" y="1059267"/>
              <a:ext cx="167678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75 w 382"/>
                <a:gd name="T11" fmla="*/ 191 h 381"/>
                <a:gd name="T12" fmla="*/ 275 w 382"/>
                <a:gd name="T13" fmla="*/ 198 h 381"/>
                <a:gd name="T14" fmla="*/ 263 w 382"/>
                <a:gd name="T15" fmla="*/ 242 h 381"/>
                <a:gd name="T16" fmla="*/ 255 w 382"/>
                <a:gd name="T17" fmla="*/ 252 h 381"/>
                <a:gd name="T18" fmla="*/ 244 w 382"/>
                <a:gd name="T19" fmla="*/ 262 h 381"/>
                <a:gd name="T20" fmla="*/ 194 w 382"/>
                <a:gd name="T21" fmla="*/ 276 h 381"/>
                <a:gd name="T22" fmla="*/ 162 w 382"/>
                <a:gd name="T23" fmla="*/ 276 h 381"/>
                <a:gd name="T24" fmla="*/ 146 w 382"/>
                <a:gd name="T25" fmla="*/ 276 h 381"/>
                <a:gd name="T26" fmla="*/ 130 w 382"/>
                <a:gd name="T27" fmla="*/ 259 h 381"/>
                <a:gd name="T28" fmla="*/ 130 w 382"/>
                <a:gd name="T29" fmla="*/ 249 h 381"/>
                <a:gd name="T30" fmla="*/ 130 w 382"/>
                <a:gd name="T31" fmla="*/ 191 h 381"/>
                <a:gd name="T32" fmla="*/ 130 w 382"/>
                <a:gd name="T33" fmla="*/ 132 h 381"/>
                <a:gd name="T34" fmla="*/ 130 w 382"/>
                <a:gd name="T35" fmla="*/ 122 h 381"/>
                <a:gd name="T36" fmla="*/ 146 w 382"/>
                <a:gd name="T37" fmla="*/ 105 h 381"/>
                <a:gd name="T38" fmla="*/ 162 w 382"/>
                <a:gd name="T39" fmla="*/ 105 h 381"/>
                <a:gd name="T40" fmla="*/ 194 w 382"/>
                <a:gd name="T41" fmla="*/ 105 h 381"/>
                <a:gd name="T42" fmla="*/ 244 w 382"/>
                <a:gd name="T43" fmla="*/ 120 h 381"/>
                <a:gd name="T44" fmla="*/ 255 w 382"/>
                <a:gd name="T45" fmla="*/ 129 h 381"/>
                <a:gd name="T46" fmla="*/ 263 w 382"/>
                <a:gd name="T47" fmla="*/ 139 h 381"/>
                <a:gd name="T48" fmla="*/ 275 w 382"/>
                <a:gd name="T49" fmla="*/ 183 h 381"/>
                <a:gd name="T50" fmla="*/ 275 w 382"/>
                <a:gd name="T51" fmla="*/ 19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6" y="0"/>
                    <a:pt x="0" y="85"/>
                    <a:pt x="0" y="191"/>
                  </a:cubicBezTo>
                  <a:cubicBezTo>
                    <a:pt x="0" y="296"/>
                    <a:pt x="86" y="381"/>
                    <a:pt x="191" y="381"/>
                  </a:cubicBezTo>
                  <a:cubicBezTo>
                    <a:pt x="297" y="381"/>
                    <a:pt x="382" y="296"/>
                    <a:pt x="382" y="191"/>
                  </a:cubicBezTo>
                  <a:cubicBezTo>
                    <a:pt x="382" y="85"/>
                    <a:pt x="297" y="0"/>
                    <a:pt x="191" y="0"/>
                  </a:cubicBezTo>
                  <a:close/>
                  <a:moveTo>
                    <a:pt x="275" y="191"/>
                  </a:moveTo>
                  <a:cubicBezTo>
                    <a:pt x="275" y="198"/>
                    <a:pt x="275" y="198"/>
                    <a:pt x="275" y="198"/>
                  </a:cubicBezTo>
                  <a:cubicBezTo>
                    <a:pt x="275" y="214"/>
                    <a:pt x="271" y="229"/>
                    <a:pt x="263" y="242"/>
                  </a:cubicBezTo>
                  <a:cubicBezTo>
                    <a:pt x="260" y="246"/>
                    <a:pt x="258" y="249"/>
                    <a:pt x="255" y="252"/>
                  </a:cubicBezTo>
                  <a:cubicBezTo>
                    <a:pt x="251" y="256"/>
                    <a:pt x="248" y="259"/>
                    <a:pt x="244" y="262"/>
                  </a:cubicBezTo>
                  <a:cubicBezTo>
                    <a:pt x="231" y="271"/>
                    <a:pt x="211" y="276"/>
                    <a:pt x="194" y="276"/>
                  </a:cubicBezTo>
                  <a:cubicBezTo>
                    <a:pt x="162" y="276"/>
                    <a:pt x="162" y="276"/>
                    <a:pt x="162" y="276"/>
                  </a:cubicBezTo>
                  <a:cubicBezTo>
                    <a:pt x="146" y="276"/>
                    <a:pt x="146" y="276"/>
                    <a:pt x="146" y="276"/>
                  </a:cubicBezTo>
                  <a:cubicBezTo>
                    <a:pt x="137" y="276"/>
                    <a:pt x="130" y="268"/>
                    <a:pt x="130" y="259"/>
                  </a:cubicBezTo>
                  <a:cubicBezTo>
                    <a:pt x="130" y="249"/>
                    <a:pt x="130" y="249"/>
                    <a:pt x="130" y="249"/>
                  </a:cubicBezTo>
                  <a:cubicBezTo>
                    <a:pt x="130" y="191"/>
                    <a:pt x="130" y="191"/>
                    <a:pt x="130" y="191"/>
                  </a:cubicBezTo>
                  <a:cubicBezTo>
                    <a:pt x="130" y="132"/>
                    <a:pt x="130" y="132"/>
                    <a:pt x="130" y="132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0" y="113"/>
                    <a:pt x="137" y="105"/>
                    <a:pt x="146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94" y="105"/>
                    <a:pt x="194" y="105"/>
                    <a:pt x="194" y="105"/>
                  </a:cubicBezTo>
                  <a:cubicBezTo>
                    <a:pt x="211" y="105"/>
                    <a:pt x="231" y="110"/>
                    <a:pt x="244" y="120"/>
                  </a:cubicBezTo>
                  <a:cubicBezTo>
                    <a:pt x="248" y="122"/>
                    <a:pt x="251" y="125"/>
                    <a:pt x="255" y="129"/>
                  </a:cubicBezTo>
                  <a:cubicBezTo>
                    <a:pt x="258" y="132"/>
                    <a:pt x="260" y="135"/>
                    <a:pt x="263" y="139"/>
                  </a:cubicBezTo>
                  <a:cubicBezTo>
                    <a:pt x="271" y="152"/>
                    <a:pt x="275" y="167"/>
                    <a:pt x="275" y="183"/>
                  </a:cubicBezTo>
                  <a:lnTo>
                    <a:pt x="275" y="1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4742193" y="1059267"/>
              <a:ext cx="167863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07 w 382"/>
                <a:gd name="T11" fmla="*/ 260 h 381"/>
                <a:gd name="T12" fmla="*/ 191 w 382"/>
                <a:gd name="T13" fmla="*/ 276 h 381"/>
                <a:gd name="T14" fmla="*/ 174 w 382"/>
                <a:gd name="T15" fmla="*/ 260 h 381"/>
                <a:gd name="T16" fmla="*/ 174 w 382"/>
                <a:gd name="T17" fmla="*/ 121 h 381"/>
                <a:gd name="T18" fmla="*/ 191 w 382"/>
                <a:gd name="T19" fmla="*/ 105 h 381"/>
                <a:gd name="T20" fmla="*/ 207 w 382"/>
                <a:gd name="T21" fmla="*/ 121 h 381"/>
                <a:gd name="T22" fmla="*/ 207 w 382"/>
                <a:gd name="T23" fmla="*/ 26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5" y="0"/>
                    <a:pt x="0" y="85"/>
                    <a:pt x="0" y="191"/>
                  </a:cubicBezTo>
                  <a:cubicBezTo>
                    <a:pt x="0" y="296"/>
                    <a:pt x="85" y="381"/>
                    <a:pt x="191" y="381"/>
                  </a:cubicBezTo>
                  <a:cubicBezTo>
                    <a:pt x="296" y="381"/>
                    <a:pt x="382" y="296"/>
                    <a:pt x="382" y="191"/>
                  </a:cubicBezTo>
                  <a:cubicBezTo>
                    <a:pt x="382" y="85"/>
                    <a:pt x="296" y="0"/>
                    <a:pt x="191" y="0"/>
                  </a:cubicBezTo>
                  <a:close/>
                  <a:moveTo>
                    <a:pt x="207" y="260"/>
                  </a:moveTo>
                  <a:cubicBezTo>
                    <a:pt x="207" y="269"/>
                    <a:pt x="200" y="276"/>
                    <a:pt x="191" y="276"/>
                  </a:cubicBezTo>
                  <a:cubicBezTo>
                    <a:pt x="182" y="276"/>
                    <a:pt x="174" y="269"/>
                    <a:pt x="174" y="260"/>
                  </a:cubicBezTo>
                  <a:cubicBezTo>
                    <a:pt x="174" y="121"/>
                    <a:pt x="174" y="121"/>
                    <a:pt x="174" y="121"/>
                  </a:cubicBezTo>
                  <a:cubicBezTo>
                    <a:pt x="174" y="112"/>
                    <a:pt x="182" y="105"/>
                    <a:pt x="191" y="105"/>
                  </a:cubicBezTo>
                  <a:cubicBezTo>
                    <a:pt x="200" y="105"/>
                    <a:pt x="207" y="112"/>
                    <a:pt x="207" y="121"/>
                  </a:cubicBezTo>
                  <a:lnTo>
                    <a:pt x="207" y="260"/>
                  </a:lnTo>
                  <a:close/>
                </a:path>
              </a:pathLst>
            </a:custGeom>
            <a:solidFill>
              <a:srgbClr val="FFFFFF">
                <a:alpha val="59000"/>
              </a:srgbClr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47563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251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8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>
          <a:xfrm>
            <a:off x="0" y="5295900"/>
            <a:ext cx="12192000" cy="157881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4" r="150" b="19343"/>
          <a:stretch/>
        </p:blipFill>
        <p:spPr>
          <a:xfrm>
            <a:off x="0" y="0"/>
            <a:ext cx="12192000" cy="52959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rtlCol="0"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 rtl="0"/>
            <a:r>
              <a:rPr lang="da-DK"/>
              <a:t>Click to edit date/plac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rtlCol="0"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Subtitle in sentence case</a:t>
            </a:r>
          </a:p>
        </p:txBody>
      </p:sp>
      <p:sp>
        <p:nvSpPr>
          <p:cNvPr id="25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Title in Title Case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1117415" y="932267"/>
            <a:ext cx="1617396" cy="766671"/>
            <a:chOff x="2895137" y="1059267"/>
            <a:chExt cx="3525692" cy="1671233"/>
          </a:xfrm>
        </p:grpSpPr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3605828" y="1638553"/>
              <a:ext cx="360897" cy="512660"/>
            </a:xfrm>
            <a:custGeom>
              <a:avLst/>
              <a:gdLst>
                <a:gd name="T0" fmla="*/ 69 w 82"/>
                <a:gd name="T1" fmla="*/ 15 h 117"/>
                <a:gd name="T2" fmla="*/ 62 w 82"/>
                <a:gd name="T3" fmla="*/ 10 h 117"/>
                <a:gd name="T4" fmla="*/ 32 w 82"/>
                <a:gd name="T5" fmla="*/ 0 h 117"/>
                <a:gd name="T6" fmla="*/ 0 w 82"/>
                <a:gd name="T7" fmla="*/ 0 h 117"/>
                <a:gd name="T8" fmla="*/ 0 w 82"/>
                <a:gd name="T9" fmla="*/ 59 h 117"/>
                <a:gd name="T10" fmla="*/ 0 w 82"/>
                <a:gd name="T11" fmla="*/ 117 h 117"/>
                <a:gd name="T12" fmla="*/ 32 w 82"/>
                <a:gd name="T13" fmla="*/ 117 h 117"/>
                <a:gd name="T14" fmla="*/ 62 w 82"/>
                <a:gd name="T15" fmla="*/ 107 h 117"/>
                <a:gd name="T16" fmla="*/ 69 w 82"/>
                <a:gd name="T17" fmla="*/ 102 h 117"/>
                <a:gd name="T18" fmla="*/ 74 w 82"/>
                <a:gd name="T19" fmla="*/ 95 h 117"/>
                <a:gd name="T20" fmla="*/ 82 w 82"/>
                <a:gd name="T21" fmla="*/ 66 h 117"/>
                <a:gd name="T22" fmla="*/ 82 w 82"/>
                <a:gd name="T23" fmla="*/ 59 h 117"/>
                <a:gd name="T24" fmla="*/ 82 w 82"/>
                <a:gd name="T25" fmla="*/ 51 h 117"/>
                <a:gd name="T26" fmla="*/ 74 w 82"/>
                <a:gd name="T27" fmla="*/ 22 h 117"/>
                <a:gd name="T28" fmla="*/ 69 w 82"/>
                <a:gd name="T29" fmla="*/ 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17">
                  <a:moveTo>
                    <a:pt x="69" y="15"/>
                  </a:moveTo>
                  <a:cubicBezTo>
                    <a:pt x="67" y="13"/>
                    <a:pt x="65" y="11"/>
                    <a:pt x="62" y="10"/>
                  </a:cubicBezTo>
                  <a:cubicBezTo>
                    <a:pt x="53" y="3"/>
                    <a:pt x="43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32" y="117"/>
                    <a:pt x="32" y="117"/>
                    <a:pt x="32" y="117"/>
                  </a:cubicBezTo>
                  <a:cubicBezTo>
                    <a:pt x="43" y="117"/>
                    <a:pt x="53" y="114"/>
                    <a:pt x="62" y="107"/>
                  </a:cubicBezTo>
                  <a:cubicBezTo>
                    <a:pt x="65" y="106"/>
                    <a:pt x="67" y="104"/>
                    <a:pt x="69" y="102"/>
                  </a:cubicBezTo>
                  <a:cubicBezTo>
                    <a:pt x="71" y="100"/>
                    <a:pt x="72" y="97"/>
                    <a:pt x="74" y="95"/>
                  </a:cubicBezTo>
                  <a:cubicBezTo>
                    <a:pt x="79" y="87"/>
                    <a:pt x="82" y="76"/>
                    <a:pt x="82" y="66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1"/>
                    <a:pt x="82" y="51"/>
                    <a:pt x="82" y="51"/>
                  </a:cubicBezTo>
                  <a:cubicBezTo>
                    <a:pt x="82" y="41"/>
                    <a:pt x="79" y="30"/>
                    <a:pt x="74" y="22"/>
                  </a:cubicBezTo>
                  <a:cubicBezTo>
                    <a:pt x="72" y="20"/>
                    <a:pt x="71" y="17"/>
                    <a:pt x="69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2895137" y="1059267"/>
              <a:ext cx="167678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75 w 382"/>
                <a:gd name="T11" fmla="*/ 191 h 381"/>
                <a:gd name="T12" fmla="*/ 275 w 382"/>
                <a:gd name="T13" fmla="*/ 198 h 381"/>
                <a:gd name="T14" fmla="*/ 263 w 382"/>
                <a:gd name="T15" fmla="*/ 242 h 381"/>
                <a:gd name="T16" fmla="*/ 255 w 382"/>
                <a:gd name="T17" fmla="*/ 252 h 381"/>
                <a:gd name="T18" fmla="*/ 244 w 382"/>
                <a:gd name="T19" fmla="*/ 262 h 381"/>
                <a:gd name="T20" fmla="*/ 194 w 382"/>
                <a:gd name="T21" fmla="*/ 276 h 381"/>
                <a:gd name="T22" fmla="*/ 162 w 382"/>
                <a:gd name="T23" fmla="*/ 276 h 381"/>
                <a:gd name="T24" fmla="*/ 146 w 382"/>
                <a:gd name="T25" fmla="*/ 276 h 381"/>
                <a:gd name="T26" fmla="*/ 130 w 382"/>
                <a:gd name="T27" fmla="*/ 259 h 381"/>
                <a:gd name="T28" fmla="*/ 130 w 382"/>
                <a:gd name="T29" fmla="*/ 249 h 381"/>
                <a:gd name="T30" fmla="*/ 130 w 382"/>
                <a:gd name="T31" fmla="*/ 191 h 381"/>
                <a:gd name="T32" fmla="*/ 130 w 382"/>
                <a:gd name="T33" fmla="*/ 132 h 381"/>
                <a:gd name="T34" fmla="*/ 130 w 382"/>
                <a:gd name="T35" fmla="*/ 122 h 381"/>
                <a:gd name="T36" fmla="*/ 146 w 382"/>
                <a:gd name="T37" fmla="*/ 105 h 381"/>
                <a:gd name="T38" fmla="*/ 162 w 382"/>
                <a:gd name="T39" fmla="*/ 105 h 381"/>
                <a:gd name="T40" fmla="*/ 194 w 382"/>
                <a:gd name="T41" fmla="*/ 105 h 381"/>
                <a:gd name="T42" fmla="*/ 244 w 382"/>
                <a:gd name="T43" fmla="*/ 120 h 381"/>
                <a:gd name="T44" fmla="*/ 255 w 382"/>
                <a:gd name="T45" fmla="*/ 129 h 381"/>
                <a:gd name="T46" fmla="*/ 263 w 382"/>
                <a:gd name="T47" fmla="*/ 139 h 381"/>
                <a:gd name="T48" fmla="*/ 275 w 382"/>
                <a:gd name="T49" fmla="*/ 183 h 381"/>
                <a:gd name="T50" fmla="*/ 275 w 382"/>
                <a:gd name="T51" fmla="*/ 19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6" y="0"/>
                    <a:pt x="0" y="85"/>
                    <a:pt x="0" y="191"/>
                  </a:cubicBezTo>
                  <a:cubicBezTo>
                    <a:pt x="0" y="296"/>
                    <a:pt x="86" y="381"/>
                    <a:pt x="191" y="381"/>
                  </a:cubicBezTo>
                  <a:cubicBezTo>
                    <a:pt x="297" y="381"/>
                    <a:pt x="382" y="296"/>
                    <a:pt x="382" y="191"/>
                  </a:cubicBezTo>
                  <a:cubicBezTo>
                    <a:pt x="382" y="85"/>
                    <a:pt x="297" y="0"/>
                    <a:pt x="191" y="0"/>
                  </a:cubicBezTo>
                  <a:close/>
                  <a:moveTo>
                    <a:pt x="275" y="191"/>
                  </a:moveTo>
                  <a:cubicBezTo>
                    <a:pt x="275" y="198"/>
                    <a:pt x="275" y="198"/>
                    <a:pt x="275" y="198"/>
                  </a:cubicBezTo>
                  <a:cubicBezTo>
                    <a:pt x="275" y="214"/>
                    <a:pt x="271" y="229"/>
                    <a:pt x="263" y="242"/>
                  </a:cubicBezTo>
                  <a:cubicBezTo>
                    <a:pt x="260" y="246"/>
                    <a:pt x="258" y="249"/>
                    <a:pt x="255" y="252"/>
                  </a:cubicBezTo>
                  <a:cubicBezTo>
                    <a:pt x="251" y="256"/>
                    <a:pt x="248" y="259"/>
                    <a:pt x="244" y="262"/>
                  </a:cubicBezTo>
                  <a:cubicBezTo>
                    <a:pt x="231" y="271"/>
                    <a:pt x="211" y="276"/>
                    <a:pt x="194" y="276"/>
                  </a:cubicBezTo>
                  <a:cubicBezTo>
                    <a:pt x="162" y="276"/>
                    <a:pt x="162" y="276"/>
                    <a:pt x="162" y="276"/>
                  </a:cubicBezTo>
                  <a:cubicBezTo>
                    <a:pt x="146" y="276"/>
                    <a:pt x="146" y="276"/>
                    <a:pt x="146" y="276"/>
                  </a:cubicBezTo>
                  <a:cubicBezTo>
                    <a:pt x="137" y="276"/>
                    <a:pt x="130" y="268"/>
                    <a:pt x="130" y="259"/>
                  </a:cubicBezTo>
                  <a:cubicBezTo>
                    <a:pt x="130" y="249"/>
                    <a:pt x="130" y="249"/>
                    <a:pt x="130" y="249"/>
                  </a:cubicBezTo>
                  <a:cubicBezTo>
                    <a:pt x="130" y="191"/>
                    <a:pt x="130" y="191"/>
                    <a:pt x="130" y="191"/>
                  </a:cubicBezTo>
                  <a:cubicBezTo>
                    <a:pt x="130" y="132"/>
                    <a:pt x="130" y="132"/>
                    <a:pt x="130" y="132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0" y="113"/>
                    <a:pt x="137" y="105"/>
                    <a:pt x="146" y="105"/>
                  </a:cubicBezTo>
                  <a:cubicBezTo>
                    <a:pt x="162" y="105"/>
                    <a:pt x="162" y="105"/>
                    <a:pt x="162" y="105"/>
                  </a:cubicBezTo>
                  <a:cubicBezTo>
                    <a:pt x="194" y="105"/>
                    <a:pt x="194" y="105"/>
                    <a:pt x="194" y="105"/>
                  </a:cubicBezTo>
                  <a:cubicBezTo>
                    <a:pt x="211" y="105"/>
                    <a:pt x="231" y="110"/>
                    <a:pt x="244" y="120"/>
                  </a:cubicBezTo>
                  <a:cubicBezTo>
                    <a:pt x="248" y="122"/>
                    <a:pt x="251" y="125"/>
                    <a:pt x="255" y="129"/>
                  </a:cubicBezTo>
                  <a:cubicBezTo>
                    <a:pt x="258" y="132"/>
                    <a:pt x="260" y="135"/>
                    <a:pt x="263" y="139"/>
                  </a:cubicBezTo>
                  <a:cubicBezTo>
                    <a:pt x="271" y="152"/>
                    <a:pt x="275" y="167"/>
                    <a:pt x="275" y="183"/>
                  </a:cubicBezTo>
                  <a:lnTo>
                    <a:pt x="275" y="19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34"/>
            <p:cNvSpPr>
              <a:spLocks noEditPoints="1"/>
            </p:cNvSpPr>
            <p:nvPr userDrawn="1"/>
          </p:nvSpPr>
          <p:spPr bwMode="auto">
            <a:xfrm>
              <a:off x="4742193" y="1059267"/>
              <a:ext cx="1678636" cy="1671233"/>
            </a:xfrm>
            <a:custGeom>
              <a:avLst/>
              <a:gdLst>
                <a:gd name="T0" fmla="*/ 191 w 382"/>
                <a:gd name="T1" fmla="*/ 0 h 381"/>
                <a:gd name="T2" fmla="*/ 0 w 382"/>
                <a:gd name="T3" fmla="*/ 191 h 381"/>
                <a:gd name="T4" fmla="*/ 191 w 382"/>
                <a:gd name="T5" fmla="*/ 381 h 381"/>
                <a:gd name="T6" fmla="*/ 382 w 382"/>
                <a:gd name="T7" fmla="*/ 191 h 381"/>
                <a:gd name="T8" fmla="*/ 191 w 382"/>
                <a:gd name="T9" fmla="*/ 0 h 381"/>
                <a:gd name="T10" fmla="*/ 207 w 382"/>
                <a:gd name="T11" fmla="*/ 260 h 381"/>
                <a:gd name="T12" fmla="*/ 191 w 382"/>
                <a:gd name="T13" fmla="*/ 276 h 381"/>
                <a:gd name="T14" fmla="*/ 174 w 382"/>
                <a:gd name="T15" fmla="*/ 260 h 381"/>
                <a:gd name="T16" fmla="*/ 174 w 382"/>
                <a:gd name="T17" fmla="*/ 121 h 381"/>
                <a:gd name="T18" fmla="*/ 191 w 382"/>
                <a:gd name="T19" fmla="*/ 105 h 381"/>
                <a:gd name="T20" fmla="*/ 207 w 382"/>
                <a:gd name="T21" fmla="*/ 121 h 381"/>
                <a:gd name="T22" fmla="*/ 207 w 382"/>
                <a:gd name="T23" fmla="*/ 260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2" h="381">
                  <a:moveTo>
                    <a:pt x="191" y="0"/>
                  </a:moveTo>
                  <a:cubicBezTo>
                    <a:pt x="85" y="0"/>
                    <a:pt x="0" y="85"/>
                    <a:pt x="0" y="191"/>
                  </a:cubicBezTo>
                  <a:cubicBezTo>
                    <a:pt x="0" y="296"/>
                    <a:pt x="85" y="381"/>
                    <a:pt x="191" y="381"/>
                  </a:cubicBezTo>
                  <a:cubicBezTo>
                    <a:pt x="296" y="381"/>
                    <a:pt x="382" y="296"/>
                    <a:pt x="382" y="191"/>
                  </a:cubicBezTo>
                  <a:cubicBezTo>
                    <a:pt x="382" y="85"/>
                    <a:pt x="296" y="0"/>
                    <a:pt x="191" y="0"/>
                  </a:cubicBezTo>
                  <a:close/>
                  <a:moveTo>
                    <a:pt x="207" y="260"/>
                  </a:moveTo>
                  <a:cubicBezTo>
                    <a:pt x="207" y="269"/>
                    <a:pt x="200" y="276"/>
                    <a:pt x="191" y="276"/>
                  </a:cubicBezTo>
                  <a:cubicBezTo>
                    <a:pt x="182" y="276"/>
                    <a:pt x="174" y="269"/>
                    <a:pt x="174" y="260"/>
                  </a:cubicBezTo>
                  <a:cubicBezTo>
                    <a:pt x="174" y="121"/>
                    <a:pt x="174" y="121"/>
                    <a:pt x="174" y="121"/>
                  </a:cubicBezTo>
                  <a:cubicBezTo>
                    <a:pt x="174" y="112"/>
                    <a:pt x="182" y="105"/>
                    <a:pt x="191" y="105"/>
                  </a:cubicBezTo>
                  <a:cubicBezTo>
                    <a:pt x="200" y="105"/>
                    <a:pt x="207" y="112"/>
                    <a:pt x="207" y="121"/>
                  </a:cubicBezTo>
                  <a:lnTo>
                    <a:pt x="207" y="260"/>
                  </a:lnTo>
                  <a:close/>
                </a:path>
              </a:pathLst>
            </a:custGeom>
            <a:solidFill>
              <a:srgbClr val="FFFFFF">
                <a:alpha val="59000"/>
              </a:srgbClr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808285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25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68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a-DK" sz="28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87798"/>
          </a:xfrm>
        </p:spPr>
        <p:txBody>
          <a:bodyPr rtlCol="0"/>
          <a:lstStyle>
            <a:lvl1pPr>
              <a:defRPr sz="28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457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8AFE6F3-FF68-4BAE-A9D9-52D919643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6" y="1304925"/>
            <a:ext cx="3632200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3CF90EF-9A04-47E5-87F5-7FE67AA17C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79900" y="1304925"/>
            <a:ext cx="3630613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4E493C0-4B1A-4436-A362-0AB8A4BF94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99438" y="1304925"/>
            <a:ext cx="3632200" cy="46688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CC3A103-FF3A-460E-97A9-4381E27F37A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C453BC6-AF78-4A88-9458-299FF373328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AD9AF2D-0562-4B62-A061-332171A99A2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752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144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da-DK" sz="28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87798"/>
          </a:xfrm>
        </p:spPr>
        <p:txBody>
          <a:bodyPr rtlCol="0"/>
          <a:lstStyle>
            <a:lvl1pPr>
              <a:defRPr sz="28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  <a:prstGeom prst="rect">
            <a:avLst/>
          </a:prstGeom>
        </p:spPr>
        <p:txBody>
          <a:bodyPr rtlCol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 rtl="0"/>
            <a:r>
              <a:rPr lang="da-DK"/>
              <a:t>Edit Master text styles</a:t>
            </a:r>
          </a:p>
          <a:p>
            <a:pPr lvl="1" rtl="0"/>
            <a:r>
              <a:rPr lang="da-DK"/>
              <a:t>Second level</a:t>
            </a:r>
          </a:p>
          <a:p>
            <a:pPr lvl="2" rtl="0"/>
            <a:r>
              <a:rPr lang="da-DK"/>
              <a:t>Third level</a:t>
            </a:r>
          </a:p>
          <a:p>
            <a:pPr lvl="3" rtl="0"/>
            <a:r>
              <a:rPr lang="da-DK"/>
              <a:t>Fourth level</a:t>
            </a:r>
          </a:p>
          <a:p>
            <a:pPr lvl="4" rtl="0"/>
            <a:r>
              <a:rPr lang="da-DK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9800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2116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2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 algn="l">
              <a:buNone/>
              <a:defRPr sz="1600">
                <a:solidFill>
                  <a:srgbClr val="575757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da-DK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rtlCol="0" anchor="t">
            <a:noAutofit/>
          </a:bodyPr>
          <a:lstStyle>
            <a:lvl1pPr>
              <a:defRPr sz="2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31994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261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 w="10795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193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298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rtlCol="0" anchor="t">
            <a:noAutofit/>
          </a:bodyPr>
          <a:lstStyle>
            <a:lvl1pPr>
              <a:defRPr sz="5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ap="flat" cmpd="sng" algn="ctr">
            <a:solidFill>
              <a:srgbClr val="5757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82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67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2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2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5186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3468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769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270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 rtlCol="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r>
              <a:rPr lang="da-DK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rtlCol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19848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 rtlCol="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r>
              <a:rPr lang="da-DK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1527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753C00B-A49E-429C-8E23-50D3249256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6" y="1304925"/>
            <a:ext cx="1960562" cy="46688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9pPr marL="252000" indent="-252000">
              <a:defRPr sz="1200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noProof="0" dirty="0"/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  <a:endParaRPr lang="en-GB" noProof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3CF90EF-9A04-47E5-87F5-7FE67AA17C5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11489" y="1304925"/>
            <a:ext cx="6167436" cy="46688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4E493C0-4B1A-4436-A362-0AB8A4BF94B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871074" y="1304925"/>
            <a:ext cx="1960563" cy="4668837"/>
          </a:xfrm>
        </p:spPr>
        <p:txBody>
          <a:bodyPr/>
          <a:lstStyle>
            <a:lvl1pPr marL="0" indent="0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5200" b="1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/>
            </a:lvl2pPr>
            <a:lvl3pPr marL="180000">
              <a:defRPr sz="1200"/>
            </a:lvl3pPr>
            <a:lvl4pPr>
              <a:defRPr sz="1200" b="1"/>
            </a:lvl4pPr>
            <a:lvl5pPr marL="252000" indent="-252000">
              <a:buFont typeface="+mj-lt"/>
              <a:buAutoNum type="arabicPeriod"/>
              <a:defRPr sz="1200" b="0"/>
            </a:lvl5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200" b="0"/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200" b="0"/>
            </a:lvl9pPr>
          </a:lstStyle>
          <a:p>
            <a:pPr lvl="0"/>
            <a:r>
              <a:rPr lang="en-GB"/>
              <a:t>9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1DE3784-9BDB-4097-8332-1DDF82FC295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C33C386-8103-45D1-A898-DC024BB83EA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9533F0E-8F89-4220-BF4B-3643FE0D6C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862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49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2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240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22230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rtlCol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9729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919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4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 b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7073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8952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1599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1585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rtlCol="0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9902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575757"/>
              </a:gs>
              <a:gs pos="100000">
                <a:srgbClr val="3A3A3A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rtlCol="0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51294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7762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35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/>
            <a:endParaRPr lang="en-US" sz="54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 w="10795" cap="flat" cmpd="sng" algn="ctr">
            <a:solidFill>
              <a:srgbClr val="575757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75757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396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FC24A15-9044-4465-8417-27710245D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41899A-E3F8-4312-8ABF-0A7AB73DE69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961BE7-289B-4187-AD89-BEEA2E1722A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C9E4A-0771-4E43-89BD-641128B0D2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B647EA-FE1A-477D-B0D8-CA048AC54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776" y="1304925"/>
            <a:ext cx="5592762" cy="315951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0" indent="0">
              <a:buFontTx/>
              <a:buNone/>
              <a:defRPr sz="1600"/>
            </a:lvl4pPr>
            <a:lvl5pPr>
              <a:buFontTx/>
              <a:buNone/>
              <a:defRPr sz="1600"/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9F0D8D7-EB40-4287-A461-C43B0405912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58776" y="1620876"/>
            <a:ext cx="5592762" cy="1918800"/>
          </a:xfr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GB" dirty="0"/>
          </a:p>
          <a:p>
            <a:pPr lvl="0"/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894F140-51B5-4329-BEF0-D38C30C608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741815"/>
            <a:ext cx="5592762" cy="3168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 b="1"/>
            </a:lvl1pPr>
            <a:lvl2pPr marL="0" indent="0">
              <a:spcBef>
                <a:spcPts val="0"/>
              </a:spcBef>
              <a:buFontTx/>
              <a:buNone/>
              <a:defRPr sz="1600" b="1"/>
            </a:lvl2pPr>
            <a:lvl3pPr marL="0" indent="0">
              <a:spcBef>
                <a:spcPts val="0"/>
              </a:spcBef>
              <a:buFontTx/>
              <a:buNone/>
              <a:defRPr sz="1600" b="1"/>
            </a:lvl3pPr>
            <a:lvl4pPr marL="0" indent="0">
              <a:spcBef>
                <a:spcPts val="0"/>
              </a:spcBef>
              <a:buFontTx/>
              <a:buNone/>
              <a:defRPr sz="1600" b="1"/>
            </a:lvl4pPr>
            <a:lvl5pPr>
              <a:spcBef>
                <a:spcPts val="0"/>
              </a:spcBef>
              <a:buFontTx/>
              <a:buNone/>
              <a:defRPr sz="1600" b="1"/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AEE30DF-2C09-41DF-A1B0-1BDDCC62604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58776" y="4054963"/>
            <a:ext cx="5592762" cy="19188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2E7666A-A2EB-4EB4-A6AD-EE2C3F63A0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874" y="1304925"/>
            <a:ext cx="5592763" cy="31595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/>
            </a:lvl1pPr>
            <a:lvl2pPr marL="0" indent="0">
              <a:spcBef>
                <a:spcPts val="0"/>
              </a:spcBef>
              <a:buNone/>
              <a:tabLst/>
              <a:defRPr sz="1600" b="1"/>
            </a:lvl2pPr>
            <a:lvl3pPr marL="0" indent="0">
              <a:spcBef>
                <a:spcPts val="0"/>
              </a:spcBef>
              <a:buNone/>
              <a:tabLst/>
              <a:defRPr sz="1600" b="1"/>
            </a:lvl3pPr>
            <a:lvl4pPr marL="0" indent="0">
              <a:spcBef>
                <a:spcPts val="0"/>
              </a:spcBef>
              <a:buNone/>
              <a:defRPr sz="1600" b="1"/>
            </a:lvl4pPr>
            <a:lvl5pPr>
              <a:spcBef>
                <a:spcPts val="0"/>
              </a:spcBef>
              <a:buNone/>
              <a:defRPr sz="1600" b="1"/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5C0099D-6873-4F1E-88C6-A601CC7311D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38874" y="1620876"/>
            <a:ext cx="5592764" cy="191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B7DD459-D4EB-4962-8073-BF1FF6D9CB0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874" y="3741815"/>
            <a:ext cx="5592764" cy="316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 b="1"/>
            </a:lvl1pPr>
            <a:lvl2pPr marL="0" indent="0">
              <a:spcBef>
                <a:spcPts val="0"/>
              </a:spcBef>
              <a:buNone/>
              <a:defRPr sz="1600" b="1"/>
            </a:lvl2pPr>
            <a:lvl3pPr marL="0" indent="0">
              <a:spcBef>
                <a:spcPts val="0"/>
              </a:spcBef>
              <a:buNone/>
              <a:defRPr sz="1600" b="1"/>
            </a:lvl3pPr>
            <a:lvl4pPr marL="0" indent="0">
              <a:spcBef>
                <a:spcPts val="0"/>
              </a:spcBef>
              <a:buNone/>
              <a:defRPr sz="1600" b="1"/>
            </a:lvl4pPr>
            <a:lvl5pPr>
              <a:spcBef>
                <a:spcPts val="0"/>
              </a:spcBef>
              <a:buNone/>
              <a:defRPr sz="1600" b="1"/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ext</a:t>
            </a:r>
            <a:endParaRPr lang="da-DK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9594372E-DEAA-4DAC-8365-7257A9758C1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75" y="4054963"/>
            <a:ext cx="5592763" cy="19188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8200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2121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575757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 rtl="0"/>
            <a:endParaRPr lang="en-US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6615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r>
              <a:rPr lang="da-DK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97995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rt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 rtl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da-DK" sz="5400">
                <a:solidFill>
                  <a:srgbClr val="575757"/>
                </a:solidFill>
                <a:latin typeface="+mj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4598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 rtlCol="0"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2756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5818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207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3838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4" r="150" b="65"/>
          <a:stretch/>
        </p:blipFill>
        <p:spPr>
          <a:xfrm>
            <a:off x="0" y="0"/>
            <a:ext cx="12192000" cy="68707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rgbClr val="212121">
                  <a:alpha val="90000"/>
                </a:srgbClr>
              </a:gs>
              <a:gs pos="100000">
                <a:srgbClr val="575757">
                  <a:alpha val="90000"/>
                </a:srgbClr>
              </a:gs>
            </a:gsLst>
            <a:lin ang="18900000" scaled="0"/>
            <a:tileRect/>
          </a:gradFill>
          <a:ln w="10795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/>
              <a:ea typeface="+mn-ea"/>
              <a:cs typeface="+mn-cs"/>
              <a:sym typeface="+mn-lt"/>
            </a:endParaRPr>
          </a:p>
        </p:txBody>
      </p:sp>
      <p:pic>
        <p:nvPicPr>
          <p:cNvPr id="13" name="Picture 283" descr="Billedresultat for klimapartnerskaber 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345" y="4617987"/>
            <a:ext cx="2736022" cy="1074102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46822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rtl="0"/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000" b="0" i="0" u="none" strike="noStrike" kern="1200" cap="none" spc="0" normalizeH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Energiintensiv afrapportering - 16 marts v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11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806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891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rtl="0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da-DK" sz="5400">
                <a:solidFill>
                  <a:schemeClr val="bg1"/>
                </a:solidFill>
                <a:latin typeface="+mj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194737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rgbClr val="575757"/>
            </a:gs>
            <a:gs pos="100000">
              <a:srgbClr val="3A3A3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5566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da-DK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4173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2.jpe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42" Type="http://schemas.openxmlformats.org/officeDocument/2006/relationships/slideLayout" Target="../slideLayouts/slideLayout78.xml"/><Relationship Id="rId47" Type="http://schemas.openxmlformats.org/officeDocument/2006/relationships/slideLayout" Target="../slideLayouts/slideLayout83.xml"/><Relationship Id="rId50" Type="http://schemas.openxmlformats.org/officeDocument/2006/relationships/slideLayout" Target="../slideLayouts/slideLayout86.xml"/><Relationship Id="rId55" Type="http://schemas.openxmlformats.org/officeDocument/2006/relationships/slideLayout" Target="../slideLayouts/slideLayout91.xml"/><Relationship Id="rId63" Type="http://schemas.openxmlformats.org/officeDocument/2006/relationships/slideLayout" Target="../slideLayouts/slideLayout99.xml"/><Relationship Id="rId68" Type="http://schemas.openxmlformats.org/officeDocument/2006/relationships/slideLayout" Target="../slideLayouts/slideLayout104.xml"/><Relationship Id="rId76" Type="http://schemas.openxmlformats.org/officeDocument/2006/relationships/tags" Target="../tags/tag2.xml"/><Relationship Id="rId7" Type="http://schemas.openxmlformats.org/officeDocument/2006/relationships/slideLayout" Target="../slideLayouts/slideLayout43.xml"/><Relationship Id="rId71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40" Type="http://schemas.openxmlformats.org/officeDocument/2006/relationships/slideLayout" Target="../slideLayouts/slideLayout76.xml"/><Relationship Id="rId45" Type="http://schemas.openxmlformats.org/officeDocument/2006/relationships/slideLayout" Target="../slideLayouts/slideLayout81.xml"/><Relationship Id="rId53" Type="http://schemas.openxmlformats.org/officeDocument/2006/relationships/slideLayout" Target="../slideLayouts/slideLayout89.xml"/><Relationship Id="rId58" Type="http://schemas.openxmlformats.org/officeDocument/2006/relationships/slideLayout" Target="../slideLayouts/slideLayout94.xml"/><Relationship Id="rId66" Type="http://schemas.openxmlformats.org/officeDocument/2006/relationships/slideLayout" Target="../slideLayouts/slideLayout102.xml"/><Relationship Id="rId74" Type="http://schemas.openxmlformats.org/officeDocument/2006/relationships/theme" Target="../theme/theme3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49" Type="http://schemas.openxmlformats.org/officeDocument/2006/relationships/slideLayout" Target="../slideLayouts/slideLayout85.xml"/><Relationship Id="rId57" Type="http://schemas.openxmlformats.org/officeDocument/2006/relationships/slideLayout" Target="../slideLayouts/slideLayout93.xml"/><Relationship Id="rId61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4" Type="http://schemas.openxmlformats.org/officeDocument/2006/relationships/slideLayout" Target="../slideLayouts/slideLayout80.xml"/><Relationship Id="rId52" Type="http://schemas.openxmlformats.org/officeDocument/2006/relationships/slideLayout" Target="../slideLayouts/slideLayout88.xml"/><Relationship Id="rId60" Type="http://schemas.openxmlformats.org/officeDocument/2006/relationships/slideLayout" Target="../slideLayouts/slideLayout96.xml"/><Relationship Id="rId65" Type="http://schemas.openxmlformats.org/officeDocument/2006/relationships/slideLayout" Target="../slideLayouts/slideLayout101.xml"/><Relationship Id="rId73" Type="http://schemas.openxmlformats.org/officeDocument/2006/relationships/slideLayout" Target="../slideLayouts/slideLayout109.xml"/><Relationship Id="rId78" Type="http://schemas.openxmlformats.org/officeDocument/2006/relationships/image" Target="../media/image14.emf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43" Type="http://schemas.openxmlformats.org/officeDocument/2006/relationships/slideLayout" Target="../slideLayouts/slideLayout79.xml"/><Relationship Id="rId48" Type="http://schemas.openxmlformats.org/officeDocument/2006/relationships/slideLayout" Target="../slideLayouts/slideLayout84.xml"/><Relationship Id="rId56" Type="http://schemas.openxmlformats.org/officeDocument/2006/relationships/slideLayout" Target="../slideLayouts/slideLayout92.xml"/><Relationship Id="rId64" Type="http://schemas.openxmlformats.org/officeDocument/2006/relationships/slideLayout" Target="../slideLayouts/slideLayout100.xml"/><Relationship Id="rId69" Type="http://schemas.openxmlformats.org/officeDocument/2006/relationships/slideLayout" Target="../slideLayouts/slideLayout105.xml"/><Relationship Id="rId77" Type="http://schemas.openxmlformats.org/officeDocument/2006/relationships/oleObject" Target="../embeddings/oleObject1.bin"/><Relationship Id="rId8" Type="http://schemas.openxmlformats.org/officeDocument/2006/relationships/slideLayout" Target="../slideLayouts/slideLayout44.xml"/><Relationship Id="rId51" Type="http://schemas.openxmlformats.org/officeDocument/2006/relationships/slideLayout" Target="../slideLayouts/slideLayout87.xml"/><Relationship Id="rId72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slideLayout" Target="../slideLayouts/slideLayout74.xml"/><Relationship Id="rId46" Type="http://schemas.openxmlformats.org/officeDocument/2006/relationships/slideLayout" Target="../slideLayouts/slideLayout82.xml"/><Relationship Id="rId59" Type="http://schemas.openxmlformats.org/officeDocument/2006/relationships/slideLayout" Target="../slideLayouts/slideLayout95.xml"/><Relationship Id="rId67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56.xml"/><Relationship Id="rId41" Type="http://schemas.openxmlformats.org/officeDocument/2006/relationships/slideLayout" Target="../slideLayouts/slideLayout77.xml"/><Relationship Id="rId54" Type="http://schemas.openxmlformats.org/officeDocument/2006/relationships/slideLayout" Target="../slideLayouts/slideLayout90.xml"/><Relationship Id="rId62" Type="http://schemas.openxmlformats.org/officeDocument/2006/relationships/slideLayout" Target="../slideLayouts/slideLayout98.xml"/><Relationship Id="rId70" Type="http://schemas.openxmlformats.org/officeDocument/2006/relationships/slideLayout" Target="../slideLayouts/slideLayout106.xml"/><Relationship Id="rId75" Type="http://schemas.openxmlformats.org/officeDocument/2006/relationships/tags" Target="../tags/tag1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26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30.xml"/><Relationship Id="rId34" Type="http://schemas.openxmlformats.org/officeDocument/2006/relationships/slideLayout" Target="../slideLayouts/slideLayout143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63" Type="http://schemas.openxmlformats.org/officeDocument/2006/relationships/slideLayout" Target="../slideLayouts/slideLayout172.xml"/><Relationship Id="rId68" Type="http://schemas.openxmlformats.org/officeDocument/2006/relationships/slideLayout" Target="../slideLayouts/slideLayout177.xml"/><Relationship Id="rId76" Type="http://schemas.openxmlformats.org/officeDocument/2006/relationships/tags" Target="../tags/tag151.xml"/><Relationship Id="rId7" Type="http://schemas.openxmlformats.org/officeDocument/2006/relationships/slideLayout" Target="../slideLayouts/slideLayout116.xml"/><Relationship Id="rId71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20.xml"/><Relationship Id="rId24" Type="http://schemas.openxmlformats.org/officeDocument/2006/relationships/slideLayout" Target="../slideLayouts/slideLayout133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53" Type="http://schemas.openxmlformats.org/officeDocument/2006/relationships/slideLayout" Target="../slideLayouts/slideLayout162.xml"/><Relationship Id="rId58" Type="http://schemas.openxmlformats.org/officeDocument/2006/relationships/slideLayout" Target="../slideLayouts/slideLayout167.xml"/><Relationship Id="rId66" Type="http://schemas.openxmlformats.org/officeDocument/2006/relationships/slideLayout" Target="../slideLayouts/slideLayout175.xml"/><Relationship Id="rId74" Type="http://schemas.openxmlformats.org/officeDocument/2006/relationships/theme" Target="../theme/theme4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slideLayout" Target="../slideLayouts/slideLayout166.xml"/><Relationship Id="rId61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slideLayout" Target="../slideLayouts/slideLayout169.xml"/><Relationship Id="rId65" Type="http://schemas.openxmlformats.org/officeDocument/2006/relationships/slideLayout" Target="../slideLayouts/slideLayout174.xml"/><Relationship Id="rId73" Type="http://schemas.openxmlformats.org/officeDocument/2006/relationships/slideLayout" Target="../slideLayouts/slideLayout182.xml"/><Relationship Id="rId78" Type="http://schemas.openxmlformats.org/officeDocument/2006/relationships/image" Target="../media/image14.emf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56" Type="http://schemas.openxmlformats.org/officeDocument/2006/relationships/slideLayout" Target="../slideLayouts/slideLayout165.xml"/><Relationship Id="rId64" Type="http://schemas.openxmlformats.org/officeDocument/2006/relationships/slideLayout" Target="../slideLayouts/slideLayout173.xml"/><Relationship Id="rId69" Type="http://schemas.openxmlformats.org/officeDocument/2006/relationships/slideLayout" Target="../slideLayouts/slideLayout178.xml"/><Relationship Id="rId77" Type="http://schemas.openxmlformats.org/officeDocument/2006/relationships/oleObject" Target="../embeddings/oleObject1.bin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72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slideLayout" Target="../slideLayouts/slideLayout134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46" Type="http://schemas.openxmlformats.org/officeDocument/2006/relationships/slideLayout" Target="../slideLayouts/slideLayout155.xml"/><Relationship Id="rId59" Type="http://schemas.openxmlformats.org/officeDocument/2006/relationships/slideLayout" Target="../slideLayouts/slideLayout168.xml"/><Relationship Id="rId67" Type="http://schemas.openxmlformats.org/officeDocument/2006/relationships/slideLayout" Target="../slideLayouts/slideLayout176.xml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62" Type="http://schemas.openxmlformats.org/officeDocument/2006/relationships/slideLayout" Target="../slideLayouts/slideLayout171.xml"/><Relationship Id="rId70" Type="http://schemas.openxmlformats.org/officeDocument/2006/relationships/slideLayout" Target="../slideLayouts/slideLayout179.xml"/><Relationship Id="rId75" Type="http://schemas.openxmlformats.org/officeDocument/2006/relationships/tags" Target="../tags/tag150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ottom Bar">
            <a:extLst>
              <a:ext uri="{FF2B5EF4-FFF2-40B4-BE49-F238E27FC236}">
                <a16:creationId xmlns:a16="http://schemas.microsoft.com/office/drawing/2014/main" id="{8EEC86B3-54B6-493A-B3C7-ECA5474BA035}"/>
              </a:ext>
            </a:extLst>
          </p:cNvPr>
          <p:cNvSpPr/>
          <p:nvPr userDrawn="1"/>
        </p:nvSpPr>
        <p:spPr>
          <a:xfrm>
            <a:off x="1063" y="6156000"/>
            <a:ext cx="12190938" cy="702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457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Top line">
            <a:extLst>
              <a:ext uri="{FF2B5EF4-FFF2-40B4-BE49-F238E27FC236}">
                <a16:creationId xmlns:a16="http://schemas.microsoft.com/office/drawing/2014/main" id="{3BAF4317-CE8C-4073-B342-5C828F620C1B}"/>
              </a:ext>
            </a:extLst>
          </p:cNvPr>
          <p:cNvSpPr/>
          <p:nvPr userDrawn="1"/>
        </p:nvSpPr>
        <p:spPr>
          <a:xfrm>
            <a:off x="245534" y="331723"/>
            <a:ext cx="45719" cy="34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pic>
        <p:nvPicPr>
          <p:cNvPr id="8" name="Logo Concretely">
            <a:extLst>
              <a:ext uri="{FF2B5EF4-FFF2-40B4-BE49-F238E27FC236}">
                <a16:creationId xmlns:a16="http://schemas.microsoft.com/office/drawing/2014/main" id="{B7FD4640-BAF9-4821-B5E6-8F33E32F98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295" y="6273397"/>
            <a:ext cx="1519113" cy="467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Logo Cementirholding">
            <a:extLst>
              <a:ext uri="{FF2B5EF4-FFF2-40B4-BE49-F238E27FC236}">
                <a16:creationId xmlns:a16="http://schemas.microsoft.com/office/drawing/2014/main" id="{E9278B04-D3EC-44A5-B9CE-E242CE962001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534" y="6312135"/>
            <a:ext cx="2160000" cy="38973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04925"/>
            <a:ext cx="11473225" cy="4668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Regular text</a:t>
            </a:r>
          </a:p>
          <a:p>
            <a:pPr lvl="4"/>
            <a:r>
              <a:rPr lang="en-GB" noProof="0" dirty="0" err="1"/>
              <a:t>Subheader</a:t>
            </a:r>
            <a:endParaRPr lang="en-GB" noProof="0" dirty="0"/>
          </a:p>
          <a:p>
            <a:pPr lvl="5"/>
            <a:r>
              <a:rPr lang="en-GB" noProof="0" dirty="0"/>
              <a:t>Notes</a:t>
            </a:r>
          </a:p>
          <a:p>
            <a:pPr lvl="6"/>
            <a:r>
              <a:rPr lang="en-GB" noProof="0" dirty="0"/>
              <a:t>Header</a:t>
            </a:r>
          </a:p>
          <a:p>
            <a:pPr lvl="7"/>
            <a:r>
              <a:rPr lang="en-GB" noProof="0" dirty="0"/>
              <a:t>Infographic</a:t>
            </a:r>
          </a:p>
          <a:p>
            <a:pPr lvl="8"/>
            <a:r>
              <a:rPr lang="en-GB" noProof="0" dirty="0"/>
              <a:t>Numbered list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360001"/>
            <a:ext cx="11472862" cy="7655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dirty="0"/>
              <a:t>Klik for at redigere titeltypografien i mastere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98540" y="6438348"/>
            <a:ext cx="39492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9A37141-1FB3-4512-8134-F69DDF9B9A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423D2A6-456F-46DE-9BBA-54BAC2AFE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grpSp>
        <p:nvGrpSpPr>
          <p:cNvPr id="2" name="Grid" hidden="1">
            <a:extLst>
              <a:ext uri="{FF2B5EF4-FFF2-40B4-BE49-F238E27FC236}">
                <a16:creationId xmlns:a16="http://schemas.microsoft.com/office/drawing/2014/main" id="{70707475-52BF-42A8-A838-C4622156504F}"/>
              </a:ext>
            </a:extLst>
          </p:cNvPr>
          <p:cNvGrpSpPr/>
          <p:nvPr userDrawn="1"/>
        </p:nvGrpSpPr>
        <p:grpSpPr>
          <a:xfrm>
            <a:off x="1" y="1"/>
            <a:ext cx="12191999" cy="6155999"/>
            <a:chOff x="1" y="1"/>
            <a:chExt cx="12191999" cy="6155999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D0506CE-61F3-47B4-9979-5D340ABD1649}"/>
                </a:ext>
              </a:extLst>
            </p:cNvPr>
            <p:cNvSpPr/>
            <p:nvPr userDrawn="1"/>
          </p:nvSpPr>
          <p:spPr>
            <a:xfrm>
              <a:off x="1" y="1"/>
              <a:ext cx="360000" cy="36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DF37A62-59D4-4A30-A15E-BDF44995625E}"/>
                </a:ext>
              </a:extLst>
            </p:cNvPr>
            <p:cNvSpPr/>
            <p:nvPr userDrawn="1"/>
          </p:nvSpPr>
          <p:spPr>
            <a:xfrm flipV="1">
              <a:off x="11832000" y="1231351"/>
              <a:ext cx="360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3E590A8-03DC-4DA0-B25E-AA9B675AA92C}"/>
                </a:ext>
              </a:extLst>
            </p:cNvPr>
            <p:cNvSpPr/>
            <p:nvPr userDrawn="1"/>
          </p:nvSpPr>
          <p:spPr>
            <a:xfrm>
              <a:off x="203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B5213D9-44FF-4B07-ADAD-641CEFA7EDB9}"/>
                </a:ext>
              </a:extLst>
            </p:cNvPr>
            <p:cNvSpPr/>
            <p:nvPr userDrawn="1"/>
          </p:nvSpPr>
          <p:spPr>
            <a:xfrm>
              <a:off x="301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555EE3C-AB18-4988-804D-17048925BDD5}"/>
                </a:ext>
              </a:extLst>
            </p:cNvPr>
            <p:cNvSpPr/>
            <p:nvPr userDrawn="1"/>
          </p:nvSpPr>
          <p:spPr>
            <a:xfrm>
              <a:off x="399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A19B029-9051-406A-A26F-82E4AF8897E3}"/>
                </a:ext>
              </a:extLst>
            </p:cNvPr>
            <p:cNvSpPr/>
            <p:nvPr userDrawn="1"/>
          </p:nvSpPr>
          <p:spPr>
            <a:xfrm>
              <a:off x="497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F2E5201-7463-4377-B811-46C19C5DE010}"/>
                </a:ext>
              </a:extLst>
            </p:cNvPr>
            <p:cNvSpPr/>
            <p:nvPr userDrawn="1"/>
          </p:nvSpPr>
          <p:spPr>
            <a:xfrm>
              <a:off x="595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0A74B6C-D9B7-4288-AF5C-96C36675DE27}"/>
                </a:ext>
              </a:extLst>
            </p:cNvPr>
            <p:cNvSpPr/>
            <p:nvPr userDrawn="1"/>
          </p:nvSpPr>
          <p:spPr>
            <a:xfrm>
              <a:off x="693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A738A2C-AA1A-497F-94B8-F9B5D730D15F}"/>
                </a:ext>
              </a:extLst>
            </p:cNvPr>
            <p:cNvSpPr/>
            <p:nvPr userDrawn="1"/>
          </p:nvSpPr>
          <p:spPr>
            <a:xfrm>
              <a:off x="791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B16B226-E844-4DB5-A97F-8AA1D80BDBC8}"/>
                </a:ext>
              </a:extLst>
            </p:cNvPr>
            <p:cNvSpPr/>
            <p:nvPr userDrawn="1"/>
          </p:nvSpPr>
          <p:spPr>
            <a:xfrm>
              <a:off x="889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D65AD7B-9181-46E4-AAD5-0902281DFB1E}"/>
                </a:ext>
              </a:extLst>
            </p:cNvPr>
            <p:cNvSpPr/>
            <p:nvPr userDrawn="1"/>
          </p:nvSpPr>
          <p:spPr>
            <a:xfrm>
              <a:off x="987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53C5A8C-58C0-41E4-B082-05D86A64753E}"/>
                </a:ext>
              </a:extLst>
            </p:cNvPr>
            <p:cNvSpPr/>
            <p:nvPr userDrawn="1"/>
          </p:nvSpPr>
          <p:spPr>
            <a:xfrm>
              <a:off x="1085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F586F6C-D6A6-4F64-B97D-74C5216871C7}"/>
                </a:ext>
              </a:extLst>
            </p:cNvPr>
            <p:cNvSpPr/>
            <p:nvPr userDrawn="1"/>
          </p:nvSpPr>
          <p:spPr>
            <a:xfrm>
              <a:off x="1052001" y="5913436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57" r:id="rId3"/>
    <p:sldLayoutId id="2147483732" r:id="rId4"/>
    <p:sldLayoutId id="2147483734" r:id="rId5"/>
    <p:sldLayoutId id="2147483749" r:id="rId6"/>
    <p:sldLayoutId id="2147483752" r:id="rId7"/>
    <p:sldLayoutId id="2147483758" r:id="rId8"/>
    <p:sldLayoutId id="2147483754" r:id="rId9"/>
    <p:sldLayoutId id="2147483750" r:id="rId10"/>
    <p:sldLayoutId id="2147483751" r:id="rId11"/>
    <p:sldLayoutId id="2147483736" r:id="rId12"/>
    <p:sldLayoutId id="2147483755" r:id="rId13"/>
    <p:sldLayoutId id="2147483743" r:id="rId14"/>
    <p:sldLayoutId id="2147483744" r:id="rId15"/>
    <p:sldLayoutId id="2147483759" r:id="rId16"/>
    <p:sldLayoutId id="2147483667" r:id="rId17"/>
    <p:sldLayoutId id="2147483780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15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6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16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tabLst/>
        <a:defRPr sz="2800" b="1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3000"/>
        </a:lnSpc>
        <a:spcBef>
          <a:spcPts val="0"/>
        </a:spcBef>
        <a:buFont typeface="Arial" panose="020B0604020202020204" pitchFamily="34" charset="0"/>
        <a:buChar char="​"/>
        <a:tabLst/>
        <a:defRPr sz="5200" b="1" kern="1200">
          <a:solidFill>
            <a:schemeClr val="tx2"/>
          </a:solidFill>
          <a:latin typeface="+mn-lt"/>
          <a:ea typeface="+mn-ea"/>
          <a:cs typeface="+mn-cs"/>
        </a:defRPr>
      </a:lvl8pPr>
      <a:lvl9pPr marL="342900" indent="-342900" algn="l" defTabSz="91440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tabLst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26" userDrawn="1">
          <p15:clr>
            <a:srgbClr val="F26B43"/>
          </p15:clr>
        </p15:guide>
        <p15:guide id="4" orient="horz" pos="226" userDrawn="1">
          <p15:clr>
            <a:srgbClr val="F26B43"/>
          </p15:clr>
        </p15:guide>
        <p15:guide id="5" pos="7453" userDrawn="1">
          <p15:clr>
            <a:srgbClr val="F26B43"/>
          </p15:clr>
        </p15:guide>
        <p15:guide id="6" orient="horz" pos="709" userDrawn="1">
          <p15:clr>
            <a:srgbClr val="F26B43"/>
          </p15:clr>
        </p15:guide>
        <p15:guide id="7" orient="horz" pos="822" userDrawn="1">
          <p15:clr>
            <a:srgbClr val="F26B43"/>
          </p15:clr>
        </p15:guide>
        <p15:guide id="8" pos="1280" userDrawn="1">
          <p15:clr>
            <a:srgbClr val="F26B43"/>
          </p15:clr>
        </p15:guide>
        <p15:guide id="9" pos="1461" userDrawn="1">
          <p15:clr>
            <a:srgbClr val="F26B43"/>
          </p15:clr>
        </p15:guide>
        <p15:guide id="10" orient="horz" pos="3763" userDrawn="1">
          <p15:clr>
            <a:srgbClr val="F26B43"/>
          </p15:clr>
        </p15:guide>
        <p15:guide id="11" orient="horz" pos="3877" userDrawn="1">
          <p15:clr>
            <a:srgbClr val="F26B43"/>
          </p15:clr>
        </p15:guide>
        <p15:guide id="12" pos="1897" userDrawn="1">
          <p15:clr>
            <a:srgbClr val="F26B43"/>
          </p15:clr>
        </p15:guide>
        <p15:guide id="13" pos="2078" userDrawn="1">
          <p15:clr>
            <a:srgbClr val="F26B43"/>
          </p15:clr>
        </p15:guide>
        <p15:guide id="14" pos="2514" userDrawn="1">
          <p15:clr>
            <a:srgbClr val="F26B43"/>
          </p15:clr>
        </p15:guide>
        <p15:guide id="15" pos="2696" userDrawn="1">
          <p15:clr>
            <a:srgbClr val="F26B43"/>
          </p15:clr>
        </p15:guide>
        <p15:guide id="16" pos="3131" userDrawn="1">
          <p15:clr>
            <a:srgbClr val="F26B43"/>
          </p15:clr>
        </p15:guide>
        <p15:guide id="17" pos="3313" userDrawn="1">
          <p15:clr>
            <a:srgbClr val="F26B43"/>
          </p15:clr>
        </p15:guide>
        <p15:guide id="18" pos="3749" userDrawn="1">
          <p15:clr>
            <a:srgbClr val="F26B43"/>
          </p15:clr>
        </p15:guide>
        <p15:guide id="19" pos="3930" userDrawn="1">
          <p15:clr>
            <a:srgbClr val="F26B43"/>
          </p15:clr>
        </p15:guide>
        <p15:guide id="20" pos="4366" userDrawn="1">
          <p15:clr>
            <a:srgbClr val="F26B43"/>
          </p15:clr>
        </p15:guide>
        <p15:guide id="21" pos="4548" userDrawn="1">
          <p15:clr>
            <a:srgbClr val="F26B43"/>
          </p15:clr>
        </p15:guide>
        <p15:guide id="22" pos="4983" userDrawn="1">
          <p15:clr>
            <a:srgbClr val="F26B43"/>
          </p15:clr>
        </p15:guide>
        <p15:guide id="23" pos="5165" userDrawn="1">
          <p15:clr>
            <a:srgbClr val="F26B43"/>
          </p15:clr>
        </p15:guide>
        <p15:guide id="24" pos="5601" userDrawn="1">
          <p15:clr>
            <a:srgbClr val="F26B43"/>
          </p15:clr>
        </p15:guide>
        <p15:guide id="25" pos="5782" userDrawn="1">
          <p15:clr>
            <a:srgbClr val="F26B43"/>
          </p15:clr>
        </p15:guide>
        <p15:guide id="26" pos="6218" userDrawn="1">
          <p15:clr>
            <a:srgbClr val="F26B43"/>
          </p15:clr>
        </p15:guide>
        <p15:guide id="27" pos="6400" userDrawn="1">
          <p15:clr>
            <a:srgbClr val="F26B43"/>
          </p15:clr>
        </p15:guide>
        <p15:guide id="28" pos="6835" userDrawn="1">
          <p15:clr>
            <a:srgbClr val="F26B43"/>
          </p15:clr>
        </p15:guide>
        <p15:guide id="29" pos="7017" userDrawn="1">
          <p15:clr>
            <a:srgbClr val="F26B43"/>
          </p15:clr>
        </p15:guide>
        <p15:guide id="30" pos="662" userDrawn="1">
          <p15:clr>
            <a:srgbClr val="F26B43"/>
          </p15:clr>
        </p15:guide>
        <p15:guide id="31" pos="84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ottom Bar">
            <a:extLst>
              <a:ext uri="{FF2B5EF4-FFF2-40B4-BE49-F238E27FC236}">
                <a16:creationId xmlns:a16="http://schemas.microsoft.com/office/drawing/2014/main" id="{8EEC86B3-54B6-493A-B3C7-ECA5474BA035}"/>
              </a:ext>
            </a:extLst>
          </p:cNvPr>
          <p:cNvSpPr/>
          <p:nvPr userDrawn="1"/>
        </p:nvSpPr>
        <p:spPr>
          <a:xfrm>
            <a:off x="1063" y="6156000"/>
            <a:ext cx="12190938" cy="702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45714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Top line">
            <a:extLst>
              <a:ext uri="{FF2B5EF4-FFF2-40B4-BE49-F238E27FC236}">
                <a16:creationId xmlns:a16="http://schemas.microsoft.com/office/drawing/2014/main" id="{3BAF4317-CE8C-4073-B342-5C828F620C1B}"/>
              </a:ext>
            </a:extLst>
          </p:cNvPr>
          <p:cNvSpPr/>
          <p:nvPr userDrawn="1"/>
        </p:nvSpPr>
        <p:spPr>
          <a:xfrm>
            <a:off x="245534" y="331723"/>
            <a:ext cx="45719" cy="34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pic>
        <p:nvPicPr>
          <p:cNvPr id="8" name="Logo Concretely">
            <a:extLst>
              <a:ext uri="{FF2B5EF4-FFF2-40B4-BE49-F238E27FC236}">
                <a16:creationId xmlns:a16="http://schemas.microsoft.com/office/drawing/2014/main" id="{B7FD4640-BAF9-4821-B5E6-8F33E32F98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295" y="6273397"/>
            <a:ext cx="1519113" cy="467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Logo Cementirholding">
            <a:extLst>
              <a:ext uri="{FF2B5EF4-FFF2-40B4-BE49-F238E27FC236}">
                <a16:creationId xmlns:a16="http://schemas.microsoft.com/office/drawing/2014/main" id="{E9278B04-D3EC-44A5-B9CE-E242CE962001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534" y="6312135"/>
            <a:ext cx="2160000" cy="38973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5" y="1304925"/>
            <a:ext cx="11473225" cy="4668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Regular text</a:t>
            </a:r>
          </a:p>
          <a:p>
            <a:pPr lvl="4"/>
            <a:r>
              <a:rPr lang="en-GB" noProof="0" dirty="0" err="1"/>
              <a:t>Subheader</a:t>
            </a:r>
            <a:endParaRPr lang="en-GB" noProof="0" dirty="0"/>
          </a:p>
          <a:p>
            <a:pPr lvl="5"/>
            <a:r>
              <a:rPr lang="en-GB" noProof="0" dirty="0"/>
              <a:t>Notes</a:t>
            </a:r>
          </a:p>
          <a:p>
            <a:pPr lvl="6"/>
            <a:r>
              <a:rPr lang="en-GB" noProof="0" dirty="0"/>
              <a:t>Header</a:t>
            </a:r>
          </a:p>
          <a:p>
            <a:pPr lvl="7"/>
            <a:r>
              <a:rPr lang="en-GB" noProof="0" dirty="0"/>
              <a:t>Infographic</a:t>
            </a:r>
          </a:p>
          <a:p>
            <a:pPr lvl="8"/>
            <a:r>
              <a:rPr lang="en-GB" noProof="0" dirty="0"/>
              <a:t>Numbered list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399190"/>
            <a:ext cx="8625036" cy="76553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a-DK" dirty="0"/>
              <a:t>Klik for at redigere titeltypografien i mastere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98540" y="6438348"/>
            <a:ext cx="39492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9A37141-1FB3-4512-8134-F69DDF9B9A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423D2A6-456F-46DE-9BBA-54BAC2AFE1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grpSp>
        <p:nvGrpSpPr>
          <p:cNvPr id="2" name="Grid" hidden="1">
            <a:extLst>
              <a:ext uri="{FF2B5EF4-FFF2-40B4-BE49-F238E27FC236}">
                <a16:creationId xmlns:a16="http://schemas.microsoft.com/office/drawing/2014/main" id="{70707475-52BF-42A8-A838-C4622156504F}"/>
              </a:ext>
            </a:extLst>
          </p:cNvPr>
          <p:cNvGrpSpPr/>
          <p:nvPr userDrawn="1"/>
        </p:nvGrpSpPr>
        <p:grpSpPr>
          <a:xfrm>
            <a:off x="1" y="1"/>
            <a:ext cx="12191999" cy="6155999"/>
            <a:chOff x="1" y="1"/>
            <a:chExt cx="12191999" cy="6155999"/>
          </a:xfrm>
          <a:noFill/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D0506CE-61F3-47B4-9979-5D340ABD1649}"/>
                </a:ext>
              </a:extLst>
            </p:cNvPr>
            <p:cNvSpPr/>
            <p:nvPr userDrawn="1"/>
          </p:nvSpPr>
          <p:spPr>
            <a:xfrm>
              <a:off x="1" y="1"/>
              <a:ext cx="360000" cy="360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DF37A62-59D4-4A30-A15E-BDF44995625E}"/>
                </a:ext>
              </a:extLst>
            </p:cNvPr>
            <p:cNvSpPr/>
            <p:nvPr userDrawn="1"/>
          </p:nvSpPr>
          <p:spPr>
            <a:xfrm flipV="1">
              <a:off x="11832000" y="1231351"/>
              <a:ext cx="360000" cy="21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3E590A8-03DC-4DA0-B25E-AA9B675AA92C}"/>
                </a:ext>
              </a:extLst>
            </p:cNvPr>
            <p:cNvSpPr/>
            <p:nvPr userDrawn="1"/>
          </p:nvSpPr>
          <p:spPr>
            <a:xfrm>
              <a:off x="203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B5213D9-44FF-4B07-ADAD-641CEFA7EDB9}"/>
                </a:ext>
              </a:extLst>
            </p:cNvPr>
            <p:cNvSpPr/>
            <p:nvPr userDrawn="1"/>
          </p:nvSpPr>
          <p:spPr>
            <a:xfrm>
              <a:off x="301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C555EE3C-AB18-4988-804D-17048925BDD5}"/>
                </a:ext>
              </a:extLst>
            </p:cNvPr>
            <p:cNvSpPr/>
            <p:nvPr userDrawn="1"/>
          </p:nvSpPr>
          <p:spPr>
            <a:xfrm>
              <a:off x="399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A19B029-9051-406A-A26F-82E4AF8897E3}"/>
                </a:ext>
              </a:extLst>
            </p:cNvPr>
            <p:cNvSpPr/>
            <p:nvPr userDrawn="1"/>
          </p:nvSpPr>
          <p:spPr>
            <a:xfrm>
              <a:off x="497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F2E5201-7463-4377-B811-46C19C5DE010}"/>
                </a:ext>
              </a:extLst>
            </p:cNvPr>
            <p:cNvSpPr/>
            <p:nvPr userDrawn="1"/>
          </p:nvSpPr>
          <p:spPr>
            <a:xfrm>
              <a:off x="595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0A74B6C-D9B7-4288-AF5C-96C36675DE27}"/>
                </a:ext>
              </a:extLst>
            </p:cNvPr>
            <p:cNvSpPr/>
            <p:nvPr userDrawn="1"/>
          </p:nvSpPr>
          <p:spPr>
            <a:xfrm>
              <a:off x="693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A738A2C-AA1A-497F-94B8-F9B5D730D15F}"/>
                </a:ext>
              </a:extLst>
            </p:cNvPr>
            <p:cNvSpPr/>
            <p:nvPr userDrawn="1"/>
          </p:nvSpPr>
          <p:spPr>
            <a:xfrm>
              <a:off x="791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B16B226-E844-4DB5-A97F-8AA1D80BDBC8}"/>
                </a:ext>
              </a:extLst>
            </p:cNvPr>
            <p:cNvSpPr/>
            <p:nvPr userDrawn="1"/>
          </p:nvSpPr>
          <p:spPr>
            <a:xfrm>
              <a:off x="889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BD65AD7B-9181-46E4-AAD5-0902281DFB1E}"/>
                </a:ext>
              </a:extLst>
            </p:cNvPr>
            <p:cNvSpPr/>
            <p:nvPr userDrawn="1"/>
          </p:nvSpPr>
          <p:spPr>
            <a:xfrm>
              <a:off x="987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53C5A8C-58C0-41E4-B082-05D86A64753E}"/>
                </a:ext>
              </a:extLst>
            </p:cNvPr>
            <p:cNvSpPr/>
            <p:nvPr userDrawn="1"/>
          </p:nvSpPr>
          <p:spPr>
            <a:xfrm>
              <a:off x="10852001" y="5913437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AF586F6C-D6A6-4F64-B97D-74C5216871C7}"/>
                </a:ext>
              </a:extLst>
            </p:cNvPr>
            <p:cNvSpPr/>
            <p:nvPr userDrawn="1"/>
          </p:nvSpPr>
          <p:spPr>
            <a:xfrm>
              <a:off x="1052001" y="5913436"/>
              <a:ext cx="288000" cy="2425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</p:grpSp>
      <p:pic>
        <p:nvPicPr>
          <p:cNvPr id="25" name="Billede 24">
            <a:extLst>
              <a:ext uri="{FF2B5EF4-FFF2-40B4-BE49-F238E27FC236}">
                <a16:creationId xmlns:a16="http://schemas.microsoft.com/office/drawing/2014/main" id="{2B91EF04-5C24-43CD-B04E-BDABF4EF620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2560" y="248288"/>
            <a:ext cx="2847704" cy="57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415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81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1588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tabLst/>
        <a:defRPr sz="28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83000"/>
        </a:lnSpc>
        <a:spcBef>
          <a:spcPts val="0"/>
        </a:spcBef>
        <a:buFont typeface="Arial" panose="020B0604020202020204" pitchFamily="34" charset="0"/>
        <a:buChar char="​"/>
        <a:tabLst/>
        <a:defRPr sz="5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342900" indent="-342900" algn="l" defTabSz="91440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26">
          <p15:clr>
            <a:srgbClr val="F26B43"/>
          </p15:clr>
        </p15:guide>
        <p15:guide id="4" orient="horz" pos="226">
          <p15:clr>
            <a:srgbClr val="F26B43"/>
          </p15:clr>
        </p15:guide>
        <p15:guide id="5" pos="7453">
          <p15:clr>
            <a:srgbClr val="F26B43"/>
          </p15:clr>
        </p15:guide>
        <p15:guide id="6" orient="horz" pos="709">
          <p15:clr>
            <a:srgbClr val="F26B43"/>
          </p15:clr>
        </p15:guide>
        <p15:guide id="7" orient="horz" pos="822">
          <p15:clr>
            <a:srgbClr val="F26B43"/>
          </p15:clr>
        </p15:guide>
        <p15:guide id="8" pos="1280">
          <p15:clr>
            <a:srgbClr val="F26B43"/>
          </p15:clr>
        </p15:guide>
        <p15:guide id="9" pos="1461">
          <p15:clr>
            <a:srgbClr val="F26B43"/>
          </p15:clr>
        </p15:guide>
        <p15:guide id="10" orient="horz" pos="3763">
          <p15:clr>
            <a:srgbClr val="F26B43"/>
          </p15:clr>
        </p15:guide>
        <p15:guide id="11" orient="horz" pos="3877">
          <p15:clr>
            <a:srgbClr val="F26B43"/>
          </p15:clr>
        </p15:guide>
        <p15:guide id="12" pos="1897">
          <p15:clr>
            <a:srgbClr val="F26B43"/>
          </p15:clr>
        </p15:guide>
        <p15:guide id="13" pos="2078">
          <p15:clr>
            <a:srgbClr val="F26B43"/>
          </p15:clr>
        </p15:guide>
        <p15:guide id="14" pos="2514">
          <p15:clr>
            <a:srgbClr val="F26B43"/>
          </p15:clr>
        </p15:guide>
        <p15:guide id="15" pos="2696">
          <p15:clr>
            <a:srgbClr val="F26B43"/>
          </p15:clr>
        </p15:guide>
        <p15:guide id="16" pos="3131">
          <p15:clr>
            <a:srgbClr val="F26B43"/>
          </p15:clr>
        </p15:guide>
        <p15:guide id="17" pos="3313">
          <p15:clr>
            <a:srgbClr val="F26B43"/>
          </p15:clr>
        </p15:guide>
        <p15:guide id="18" pos="3749">
          <p15:clr>
            <a:srgbClr val="F26B43"/>
          </p15:clr>
        </p15:guide>
        <p15:guide id="19" pos="3930">
          <p15:clr>
            <a:srgbClr val="F26B43"/>
          </p15:clr>
        </p15:guide>
        <p15:guide id="20" pos="4366">
          <p15:clr>
            <a:srgbClr val="F26B43"/>
          </p15:clr>
        </p15:guide>
        <p15:guide id="21" pos="4548">
          <p15:clr>
            <a:srgbClr val="F26B43"/>
          </p15:clr>
        </p15:guide>
        <p15:guide id="22" pos="4983">
          <p15:clr>
            <a:srgbClr val="F26B43"/>
          </p15:clr>
        </p15:guide>
        <p15:guide id="23" pos="5165">
          <p15:clr>
            <a:srgbClr val="F26B43"/>
          </p15:clr>
        </p15:guide>
        <p15:guide id="24" pos="5601">
          <p15:clr>
            <a:srgbClr val="F26B43"/>
          </p15:clr>
        </p15:guide>
        <p15:guide id="25" pos="5782">
          <p15:clr>
            <a:srgbClr val="F26B43"/>
          </p15:clr>
        </p15:guide>
        <p15:guide id="26" pos="6218">
          <p15:clr>
            <a:srgbClr val="F26B43"/>
          </p15:clr>
        </p15:guide>
        <p15:guide id="27" pos="6400">
          <p15:clr>
            <a:srgbClr val="F26B43"/>
          </p15:clr>
        </p15:guide>
        <p15:guide id="28" pos="6835">
          <p15:clr>
            <a:srgbClr val="F26B43"/>
          </p15:clr>
        </p15:guide>
        <p15:guide id="29" pos="7017">
          <p15:clr>
            <a:srgbClr val="F26B43"/>
          </p15:clr>
        </p15:guide>
        <p15:guide id="30" pos="662">
          <p15:clr>
            <a:srgbClr val="F26B43"/>
          </p15:clr>
        </p15:guide>
        <p15:guide id="31" pos="8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5"/>
            </p:custDataLst>
            <p:extLst>
              <p:ext uri="{D42A27DB-BD31-4B8C-83A1-F6EECF244321}">
                <p14:modId xmlns:p14="http://schemas.microsoft.com/office/powerpoint/2010/main" val="6430013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da-DK"/>
              <a:t>Edit Master text styles</a:t>
            </a:r>
          </a:p>
          <a:p>
            <a:pPr lvl="1" rtl="0"/>
            <a:r>
              <a:rPr lang="da-DK"/>
              <a:t>Second level</a:t>
            </a:r>
          </a:p>
          <a:p>
            <a:pPr lvl="2" rtl="0"/>
            <a:r>
              <a:rPr lang="da-DK"/>
              <a:t>Third level</a:t>
            </a:r>
          </a:p>
          <a:p>
            <a:pPr lvl="3" rtl="0"/>
            <a:r>
              <a:rPr lang="da-DK"/>
              <a:t>Fourth level</a:t>
            </a:r>
          </a:p>
          <a:p>
            <a:pPr lvl="4" rtl="0"/>
            <a:r>
              <a:rPr lang="da-DK"/>
              <a:t>Fifth level</a:t>
            </a:r>
          </a:p>
          <a:p>
            <a:pPr lvl="5" rtl="0"/>
            <a:r>
              <a:rPr lang="da-DK"/>
              <a:t>Level six</a:t>
            </a:r>
          </a:p>
          <a:p>
            <a:pPr lvl="6" rtl="0"/>
            <a:r>
              <a:rPr lang="da-DK"/>
              <a:t>Level seven</a:t>
            </a:r>
          </a:p>
          <a:p>
            <a:pPr lvl="7" rtl="0"/>
            <a:r>
              <a:rPr lang="da-DK"/>
              <a:t>Level eight</a:t>
            </a:r>
          </a:p>
          <a:p>
            <a:pPr lvl="8" rtl="0"/>
            <a:r>
              <a:rPr lang="da-DK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840444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  <p:sldLayoutId id="2147483825" r:id="rId25"/>
    <p:sldLayoutId id="2147483826" r:id="rId26"/>
    <p:sldLayoutId id="2147483827" r:id="rId27"/>
    <p:sldLayoutId id="2147483828" r:id="rId28"/>
    <p:sldLayoutId id="2147483829" r:id="rId29"/>
    <p:sldLayoutId id="2147483830" r:id="rId30"/>
    <p:sldLayoutId id="2147483831" r:id="rId31"/>
    <p:sldLayoutId id="2147483832" r:id="rId32"/>
    <p:sldLayoutId id="2147483833" r:id="rId33"/>
    <p:sldLayoutId id="2147483834" r:id="rId34"/>
    <p:sldLayoutId id="2147483835" r:id="rId35"/>
    <p:sldLayoutId id="2147483836" r:id="rId36"/>
    <p:sldLayoutId id="2147483837" r:id="rId37"/>
    <p:sldLayoutId id="2147483838" r:id="rId38"/>
    <p:sldLayoutId id="2147483839" r:id="rId39"/>
    <p:sldLayoutId id="2147483840" r:id="rId40"/>
    <p:sldLayoutId id="2147483841" r:id="rId41"/>
    <p:sldLayoutId id="2147483842" r:id="rId42"/>
    <p:sldLayoutId id="2147483843" r:id="rId43"/>
    <p:sldLayoutId id="2147483844" r:id="rId44"/>
    <p:sldLayoutId id="2147483845" r:id="rId45"/>
    <p:sldLayoutId id="2147483846" r:id="rId46"/>
    <p:sldLayoutId id="2147483847" r:id="rId47"/>
    <p:sldLayoutId id="2147483848" r:id="rId48"/>
    <p:sldLayoutId id="2147483849" r:id="rId49"/>
    <p:sldLayoutId id="2147483850" r:id="rId50"/>
    <p:sldLayoutId id="2147483851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58" r:id="rId58"/>
    <p:sldLayoutId id="2147483859" r:id="rId59"/>
    <p:sldLayoutId id="2147483860" r:id="rId60"/>
    <p:sldLayoutId id="2147483861" r:id="rId61"/>
    <p:sldLayoutId id="2147483862" r:id="rId62"/>
    <p:sldLayoutId id="2147483863" r:id="rId63"/>
    <p:sldLayoutId id="2147483864" r:id="rId64"/>
    <p:sldLayoutId id="2147483865" r:id="rId65"/>
    <p:sldLayoutId id="2147483866" r:id="rId66"/>
    <p:sldLayoutId id="2147483867" r:id="rId67"/>
    <p:sldLayoutId id="2147483868" r:id="rId68"/>
    <p:sldLayoutId id="2147483869" r:id="rId69"/>
    <p:sldLayoutId id="2147483870" r:id="rId70"/>
    <p:sldLayoutId id="2147483871" r:id="rId71"/>
    <p:sldLayoutId id="2147483872" r:id="rId72"/>
    <p:sldLayoutId id="2147483873" r:id="rId7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575757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rgbClr val="808285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rgbClr val="808285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rgbClr val="808285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rgbClr val="808285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rgbClr val="808285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rgbClr val="808285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5"/>
            </p:custDataLst>
            <p:extLst>
              <p:ext uri="{D42A27DB-BD31-4B8C-83A1-F6EECF244321}">
                <p14:modId xmlns:p14="http://schemas.microsoft.com/office/powerpoint/2010/main" val="16965312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7" imgW="270" imgH="270" progId="TCLayout.ActiveDocument.1">
                  <p:embed/>
                </p:oleObj>
              </mc:Choice>
              <mc:Fallback>
                <p:oleObj name="think-cell Slide" r:id="rId7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2800" b="0" i="0" baseline="0" dirty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rtl="0"/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877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da-DK"/>
              <a:t>Click to add tit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da-DK"/>
              <a:t>Edit Master text styles</a:t>
            </a:r>
          </a:p>
          <a:p>
            <a:pPr lvl="1" rtl="0"/>
            <a:r>
              <a:rPr lang="da-DK"/>
              <a:t>Second level</a:t>
            </a:r>
          </a:p>
          <a:p>
            <a:pPr lvl="2" rtl="0"/>
            <a:r>
              <a:rPr lang="da-DK"/>
              <a:t>Third level</a:t>
            </a:r>
          </a:p>
          <a:p>
            <a:pPr lvl="3" rtl="0"/>
            <a:r>
              <a:rPr lang="da-DK"/>
              <a:t>Fourth level</a:t>
            </a:r>
          </a:p>
          <a:p>
            <a:pPr lvl="4" rtl="0"/>
            <a:r>
              <a:rPr lang="da-DK"/>
              <a:t>Fifth level</a:t>
            </a:r>
          </a:p>
          <a:p>
            <a:pPr lvl="5" rtl="0"/>
            <a:r>
              <a:rPr lang="da-DK"/>
              <a:t>Level six</a:t>
            </a:r>
          </a:p>
          <a:p>
            <a:pPr lvl="6" rtl="0"/>
            <a:r>
              <a:rPr lang="da-DK"/>
              <a:t>Level seven</a:t>
            </a:r>
          </a:p>
          <a:p>
            <a:pPr lvl="7" rtl="0"/>
            <a:r>
              <a:rPr lang="da-DK"/>
              <a:t>Level eight</a:t>
            </a:r>
          </a:p>
          <a:p>
            <a:pPr lvl="8" rtl="0"/>
            <a:r>
              <a:rPr lang="da-DK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247391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6" r:id="rId22"/>
    <p:sldLayoutId id="2147483897" r:id="rId23"/>
    <p:sldLayoutId id="2147483898" r:id="rId24"/>
    <p:sldLayoutId id="2147483899" r:id="rId25"/>
    <p:sldLayoutId id="2147483900" r:id="rId26"/>
    <p:sldLayoutId id="2147483901" r:id="rId27"/>
    <p:sldLayoutId id="2147483902" r:id="rId28"/>
    <p:sldLayoutId id="2147483903" r:id="rId29"/>
    <p:sldLayoutId id="2147483904" r:id="rId30"/>
    <p:sldLayoutId id="2147483905" r:id="rId31"/>
    <p:sldLayoutId id="2147483906" r:id="rId32"/>
    <p:sldLayoutId id="2147483907" r:id="rId33"/>
    <p:sldLayoutId id="2147483908" r:id="rId34"/>
    <p:sldLayoutId id="2147483909" r:id="rId35"/>
    <p:sldLayoutId id="2147483910" r:id="rId36"/>
    <p:sldLayoutId id="2147483911" r:id="rId37"/>
    <p:sldLayoutId id="2147483912" r:id="rId38"/>
    <p:sldLayoutId id="2147483913" r:id="rId39"/>
    <p:sldLayoutId id="2147483914" r:id="rId40"/>
    <p:sldLayoutId id="2147483915" r:id="rId41"/>
    <p:sldLayoutId id="2147483916" r:id="rId42"/>
    <p:sldLayoutId id="2147483917" r:id="rId43"/>
    <p:sldLayoutId id="2147483918" r:id="rId44"/>
    <p:sldLayoutId id="2147483919" r:id="rId45"/>
    <p:sldLayoutId id="2147483920" r:id="rId46"/>
    <p:sldLayoutId id="2147483921" r:id="rId47"/>
    <p:sldLayoutId id="2147483922" r:id="rId48"/>
    <p:sldLayoutId id="2147483923" r:id="rId49"/>
    <p:sldLayoutId id="2147483924" r:id="rId50"/>
    <p:sldLayoutId id="2147483925" r:id="rId51"/>
    <p:sldLayoutId id="2147483926" r:id="rId52"/>
    <p:sldLayoutId id="2147483927" r:id="rId53"/>
    <p:sldLayoutId id="2147483928" r:id="rId54"/>
    <p:sldLayoutId id="2147483929" r:id="rId55"/>
    <p:sldLayoutId id="2147483930" r:id="rId56"/>
    <p:sldLayoutId id="2147483931" r:id="rId57"/>
    <p:sldLayoutId id="2147483932" r:id="rId58"/>
    <p:sldLayoutId id="2147483933" r:id="rId59"/>
    <p:sldLayoutId id="2147483934" r:id="rId60"/>
    <p:sldLayoutId id="2147483935" r:id="rId61"/>
    <p:sldLayoutId id="2147483936" r:id="rId62"/>
    <p:sldLayoutId id="2147483937" r:id="rId63"/>
    <p:sldLayoutId id="2147483938" r:id="rId64"/>
    <p:sldLayoutId id="2147483939" r:id="rId65"/>
    <p:sldLayoutId id="2147483940" r:id="rId66"/>
    <p:sldLayoutId id="2147483941" r:id="rId67"/>
    <p:sldLayoutId id="2147483942" r:id="rId68"/>
    <p:sldLayoutId id="2147483943" r:id="rId69"/>
    <p:sldLayoutId id="2147483944" r:id="rId70"/>
    <p:sldLayoutId id="2147483945" r:id="rId71"/>
    <p:sldLayoutId id="2147483946" r:id="rId72"/>
    <p:sldLayoutId id="2147483947" r:id="rId7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575757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rgbClr val="808285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rgbClr val="808285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rgbClr val="808285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rgbClr val="808285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rgbClr val="808285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rgbClr val="808285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D1B6A6-C54F-489C-9394-BD7CF574EDD8}" type="datetimeFigureOut">
              <a:rPr lang="en-US" smtClean="0"/>
              <a:t>3/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E3A496-F2E0-4103-B7AE-0D4DFD3F18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154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4.jp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7.png"/><Relationship Id="rId3" Type="http://schemas.microsoft.com/office/2007/relationships/hdphoto" Target="../media/hdphoto1.wdp"/><Relationship Id="rId7" Type="http://schemas.openxmlformats.org/officeDocument/2006/relationships/image" Target="../media/image52.png"/><Relationship Id="rId12" Type="http://schemas.openxmlformats.org/officeDocument/2006/relationships/image" Target="../media/image5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89.xml"/><Relationship Id="rId6" Type="http://schemas.openxmlformats.org/officeDocument/2006/relationships/image" Target="../media/image51.png"/><Relationship Id="rId11" Type="http://schemas.microsoft.com/office/2007/relationships/hdphoto" Target="../media/hdphoto2.wdp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chart" Target="../charts/chart4.xml"/><Relationship Id="rId7" Type="http://schemas.openxmlformats.org/officeDocument/2006/relationships/image" Target="../media/image32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5" Type="http://schemas.openxmlformats.org/officeDocument/2006/relationships/chart" Target="../charts/chart6.xml"/><Relationship Id="rId4" Type="http://schemas.openxmlformats.org/officeDocument/2006/relationships/chart" Target="../charts/chart5.xml"/><Relationship Id="rId9" Type="http://schemas.openxmlformats.org/officeDocument/2006/relationships/image" Target="../media/image34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chart" Target="../charts/chart7.xml"/><Relationship Id="rId7" Type="http://schemas.openxmlformats.org/officeDocument/2006/relationships/image" Target="../media/image36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openxmlformats.org/officeDocument/2006/relationships/chart" Target="../charts/chart9.xml"/><Relationship Id="rId4" Type="http://schemas.openxmlformats.org/officeDocument/2006/relationships/chart" Target="../charts/chart8.xml"/><Relationship Id="rId9" Type="http://schemas.openxmlformats.org/officeDocument/2006/relationships/image" Target="../media/image3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large body of water with a city in the background&#10;&#10;Description automatically generated">
            <a:extLst>
              <a:ext uri="{FF2B5EF4-FFF2-40B4-BE49-F238E27FC236}">
                <a16:creationId xmlns:a16="http://schemas.microsoft.com/office/drawing/2014/main" id="{86EC1FF2-6C9C-4DD5-9B7E-6493295146B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57" b="12157"/>
          <a:stretch>
            <a:fillRect/>
          </a:stretch>
        </p:blipFill>
        <p:spPr>
          <a:xfrm>
            <a:off x="0" y="0"/>
            <a:ext cx="12192000" cy="6154739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B44DF57-2ACA-4D0E-9095-318CC092C6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1053" y="2458263"/>
            <a:ext cx="7474332" cy="1186837"/>
          </a:xfrm>
        </p:spPr>
        <p:txBody>
          <a:bodyPr/>
          <a:lstStyle/>
          <a:p>
            <a:r>
              <a:rPr lang="en-US" dirty="0"/>
              <a:t>CO</a:t>
            </a:r>
            <a:r>
              <a:rPr lang="en-US" baseline="-25000" dirty="0"/>
              <a:t>2</a:t>
            </a:r>
            <a:r>
              <a:rPr lang="en-US" dirty="0"/>
              <a:t>-fangst hos Aalborg Portland</a:t>
            </a:r>
            <a:endParaRPr lang="da-DK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2D8450E5-44B0-43B0-914C-719AA1E761D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7D825E-0F9F-463D-A4B6-DB880FD7BF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125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81FDBB-D170-46C9-B540-3BA8C4D3D2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nvendelse eller geologisk lagring</a:t>
            </a:r>
            <a:endParaRPr lang="en-GB" dirty="0"/>
          </a:p>
        </p:txBody>
      </p:sp>
      <p:pic>
        <p:nvPicPr>
          <p:cNvPr id="4" name="Picture 2" descr="Equinor Wins Permit for Subsea Carbon Storage Project">
            <a:extLst>
              <a:ext uri="{FF2B5EF4-FFF2-40B4-BE49-F238E27FC236}">
                <a16:creationId xmlns:a16="http://schemas.microsoft.com/office/drawing/2014/main" id="{4C78E00F-B44E-465B-9CCA-FE0D6B5AFD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247" y="1608944"/>
            <a:ext cx="5701712" cy="3201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oogle Shape;263;p4">
            <a:extLst>
              <a:ext uri="{FF2B5EF4-FFF2-40B4-BE49-F238E27FC236}">
                <a16:creationId xmlns:a16="http://schemas.microsoft.com/office/drawing/2014/main" id="{A613DA52-B965-42E3-8760-E277D11B7BA4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845" t="13403"/>
          <a:stretch/>
        </p:blipFill>
        <p:spPr>
          <a:xfrm>
            <a:off x="6981082" y="1692968"/>
            <a:ext cx="4850556" cy="3236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265;p4">
            <a:extLst>
              <a:ext uri="{FF2B5EF4-FFF2-40B4-BE49-F238E27FC236}">
                <a16:creationId xmlns:a16="http://schemas.microsoft.com/office/drawing/2014/main" id="{C56FC793-C992-4998-9B62-60D447AC4985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46835" y="1049147"/>
            <a:ext cx="2319050" cy="47155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6510A6D-A1D1-461F-803B-3F781EC0ECEF}"/>
              </a:ext>
            </a:extLst>
          </p:cNvPr>
          <p:cNvSpPr txBox="1"/>
          <p:nvPr/>
        </p:nvSpPr>
        <p:spPr>
          <a:xfrm>
            <a:off x="1689463" y="5129348"/>
            <a:ext cx="2029402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1600" b="1" dirty="0">
                <a:solidFill>
                  <a:schemeClr val="tx2"/>
                </a:solidFill>
              </a:rPr>
              <a:t>CCS: Lagring af CO</a:t>
            </a:r>
            <a:r>
              <a:rPr lang="da-DK" sz="1600" b="1" baseline="-25000" dirty="0">
                <a:solidFill>
                  <a:schemeClr val="tx2"/>
                </a:solidFill>
              </a:rPr>
              <a:t>2</a:t>
            </a:r>
            <a:br>
              <a:rPr lang="da-DK" sz="1600" b="1" dirty="0">
                <a:solidFill>
                  <a:schemeClr val="tx2"/>
                </a:solidFill>
              </a:rPr>
            </a:br>
            <a:endParaRPr lang="da-DK" sz="1600" b="1" dirty="0">
              <a:solidFill>
                <a:schemeClr val="tx2"/>
              </a:solidFill>
            </a:endParaRPr>
          </a:p>
          <a:p>
            <a:pPr algn="ctr"/>
            <a:r>
              <a:rPr lang="en-GB" sz="1600" dirty="0">
                <a:solidFill>
                  <a:schemeClr val="tx2"/>
                </a:solidFill>
              </a:rPr>
              <a:t>Longship, Norge</a:t>
            </a:r>
            <a:endParaRPr lang="da-DK" sz="1600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FB2830-BCF0-4F06-B392-60731EB30A79}"/>
              </a:ext>
            </a:extLst>
          </p:cNvPr>
          <p:cNvSpPr txBox="1"/>
          <p:nvPr/>
        </p:nvSpPr>
        <p:spPr>
          <a:xfrm>
            <a:off x="8391659" y="5129348"/>
            <a:ext cx="239206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1600" b="1" dirty="0">
                <a:solidFill>
                  <a:schemeClr val="tx2"/>
                </a:solidFill>
              </a:rPr>
              <a:t>CCU: Anvendelse af CO</a:t>
            </a:r>
            <a:r>
              <a:rPr lang="da-DK" sz="1600" b="1" baseline="-25000" dirty="0">
                <a:solidFill>
                  <a:schemeClr val="tx2"/>
                </a:solidFill>
              </a:rPr>
              <a:t>2</a:t>
            </a:r>
            <a:br>
              <a:rPr lang="da-DK" sz="1600" b="1" dirty="0">
                <a:solidFill>
                  <a:schemeClr val="tx2"/>
                </a:solidFill>
              </a:rPr>
            </a:br>
            <a:endParaRPr lang="da-DK" sz="1600" b="1" dirty="0">
              <a:solidFill>
                <a:schemeClr val="tx2"/>
              </a:solidFill>
            </a:endParaRPr>
          </a:p>
          <a:p>
            <a:pPr algn="ctr"/>
            <a:r>
              <a:rPr lang="en-GB" sz="1600" dirty="0" err="1">
                <a:solidFill>
                  <a:schemeClr val="tx2"/>
                </a:solidFill>
              </a:rPr>
              <a:t>Westküste</a:t>
            </a:r>
            <a:r>
              <a:rPr lang="en-GB" sz="1600" dirty="0">
                <a:solidFill>
                  <a:schemeClr val="tx2"/>
                </a:solidFill>
              </a:rPr>
              <a:t>, </a:t>
            </a:r>
            <a:r>
              <a:rPr lang="en-GB" sz="1600" dirty="0" err="1">
                <a:solidFill>
                  <a:schemeClr val="tx2"/>
                </a:solidFill>
              </a:rPr>
              <a:t>Tyskland</a:t>
            </a:r>
            <a:endParaRPr lang="da-DK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782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3EDE66-F6E0-47A2-AD3B-ECB8D2A83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CUS tests eller fuldskalafaciliteter i den Europæiske cement industri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2FA2A43-5D39-4A51-B710-04F18130E0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2B575FCD-1250-4415-B729-E577B51598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3" b="101"/>
          <a:stretch/>
        </p:blipFill>
        <p:spPr>
          <a:xfrm>
            <a:off x="3329127" y="1094261"/>
            <a:ext cx="5152886" cy="4788000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6B9148E1-213E-414C-9288-8CE349C65F48}"/>
              </a:ext>
            </a:extLst>
          </p:cNvPr>
          <p:cNvSpPr txBox="1"/>
          <p:nvPr/>
        </p:nvSpPr>
        <p:spPr>
          <a:xfrm>
            <a:off x="4249784" y="2056016"/>
            <a:ext cx="216764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200">
                <a:solidFill>
                  <a:schemeClr val="tx2"/>
                </a:solidFill>
              </a:rPr>
              <a:t>Heidelberg Brevik cementfabrik 400.000 tons CCS i 2024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CA5B8EF4-7E79-4397-AA16-F1E0934746AD}"/>
              </a:ext>
            </a:extLst>
          </p:cNvPr>
          <p:cNvSpPr txBox="1"/>
          <p:nvPr/>
        </p:nvSpPr>
        <p:spPr>
          <a:xfrm>
            <a:off x="2789486" y="5262774"/>
            <a:ext cx="172904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chemeClr val="tx2"/>
                </a:solidFill>
              </a:rPr>
              <a:t>C2PAT (CCU, pilot/demo)</a:t>
            </a:r>
            <a:endParaRPr lang="da-DK" sz="1200" dirty="0">
              <a:solidFill>
                <a:schemeClr val="tx2"/>
              </a:solidFill>
            </a:endParaRP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D286DEFE-8663-4160-A311-09D8812F3C8F}"/>
              </a:ext>
            </a:extLst>
          </p:cNvPr>
          <p:cNvSpPr txBox="1"/>
          <p:nvPr/>
        </p:nvSpPr>
        <p:spPr>
          <a:xfrm>
            <a:off x="2445958" y="3450207"/>
            <a:ext cx="187943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200">
                <a:solidFill>
                  <a:schemeClr val="tx2"/>
                </a:solidFill>
              </a:rPr>
              <a:t>LEILAC (fangst, pilot)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7307B67D-0F28-4002-B8E8-57BE73D655D3}"/>
              </a:ext>
            </a:extLst>
          </p:cNvPr>
          <p:cNvSpPr txBox="1"/>
          <p:nvPr/>
        </p:nvSpPr>
        <p:spPr>
          <a:xfrm>
            <a:off x="8881517" y="3616623"/>
            <a:ext cx="203309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200" dirty="0">
                <a:solidFill>
                  <a:schemeClr val="tx2"/>
                </a:solidFill>
              </a:rPr>
              <a:t>Aalborg ?</a:t>
            </a:r>
            <a:endParaRPr lang="da-DK" sz="1200" dirty="0">
              <a:solidFill>
                <a:schemeClr val="tx2"/>
              </a:solidFill>
            </a:endParaRP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A98D6FCF-F8DD-404D-8834-A08B5CB6CC70}"/>
              </a:ext>
            </a:extLst>
          </p:cNvPr>
          <p:cNvSpPr txBox="1"/>
          <p:nvPr/>
        </p:nvSpPr>
        <p:spPr>
          <a:xfrm>
            <a:off x="9021654" y="4643964"/>
            <a:ext cx="27515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200">
                <a:solidFill>
                  <a:schemeClr val="tx2"/>
                </a:solidFill>
              </a:rPr>
              <a:t>Westküste (CCU pilot/demo)</a:t>
            </a:r>
          </a:p>
          <a:p>
            <a:pPr algn="l"/>
            <a:r>
              <a:rPr lang="da-DK" sz="1200">
                <a:solidFill>
                  <a:schemeClr val="tx2"/>
                </a:solidFill>
              </a:rPr>
              <a:t>LEILAC 2 in Hannover (fangst, demo) </a:t>
            </a:r>
          </a:p>
          <a:p>
            <a:pPr algn="l"/>
            <a:r>
              <a:rPr lang="da-DK" sz="1200">
                <a:solidFill>
                  <a:schemeClr val="tx2"/>
                </a:solidFill>
              </a:rPr>
              <a:t>Oxyfuel (fangst, demo)</a:t>
            </a:r>
          </a:p>
        </p:txBody>
      </p:sp>
      <p:cxnSp>
        <p:nvCxnSpPr>
          <p:cNvPr id="19" name="Lige pilforbindelse 18">
            <a:extLst>
              <a:ext uri="{FF2B5EF4-FFF2-40B4-BE49-F238E27FC236}">
                <a16:creationId xmlns:a16="http://schemas.microsoft.com/office/drawing/2014/main" id="{5D36D337-69D3-485D-8D8B-5376FE582D84}"/>
              </a:ext>
            </a:extLst>
          </p:cNvPr>
          <p:cNvCxnSpPr>
            <a:cxnSpLocks/>
          </p:cNvCxnSpPr>
          <p:nvPr/>
        </p:nvCxnSpPr>
        <p:spPr>
          <a:xfrm>
            <a:off x="5704114" y="2437789"/>
            <a:ext cx="792480" cy="875193"/>
          </a:xfrm>
          <a:prstGeom prst="straightConnector1">
            <a:avLst/>
          </a:prstGeom>
          <a:ln w="31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ge pilforbindelse 19">
            <a:extLst>
              <a:ext uri="{FF2B5EF4-FFF2-40B4-BE49-F238E27FC236}">
                <a16:creationId xmlns:a16="http://schemas.microsoft.com/office/drawing/2014/main" id="{FF347BAF-747E-411E-9072-22402F4A0DFC}"/>
              </a:ext>
            </a:extLst>
          </p:cNvPr>
          <p:cNvCxnSpPr>
            <a:cxnSpLocks/>
          </p:cNvCxnSpPr>
          <p:nvPr/>
        </p:nvCxnSpPr>
        <p:spPr>
          <a:xfrm>
            <a:off x="3473870" y="3628907"/>
            <a:ext cx="2399211" cy="1488434"/>
          </a:xfrm>
          <a:prstGeom prst="straightConnector1">
            <a:avLst/>
          </a:prstGeom>
          <a:ln w="31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ige pilforbindelse 20">
            <a:extLst>
              <a:ext uri="{FF2B5EF4-FFF2-40B4-BE49-F238E27FC236}">
                <a16:creationId xmlns:a16="http://schemas.microsoft.com/office/drawing/2014/main" id="{9513CA81-3A43-4B4E-A0DB-34A088AFEC4E}"/>
              </a:ext>
            </a:extLst>
          </p:cNvPr>
          <p:cNvCxnSpPr>
            <a:cxnSpLocks/>
          </p:cNvCxnSpPr>
          <p:nvPr/>
        </p:nvCxnSpPr>
        <p:spPr>
          <a:xfrm>
            <a:off x="4325388" y="5447440"/>
            <a:ext cx="3161435" cy="190211"/>
          </a:xfrm>
          <a:prstGeom prst="straightConnector1">
            <a:avLst/>
          </a:prstGeom>
          <a:ln w="31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Lige pilforbindelse 22">
            <a:extLst>
              <a:ext uri="{FF2B5EF4-FFF2-40B4-BE49-F238E27FC236}">
                <a16:creationId xmlns:a16="http://schemas.microsoft.com/office/drawing/2014/main" id="{5744FF03-0215-4B12-885B-184A28CD1638}"/>
              </a:ext>
            </a:extLst>
          </p:cNvPr>
          <p:cNvCxnSpPr>
            <a:cxnSpLocks/>
          </p:cNvCxnSpPr>
          <p:nvPr/>
        </p:nvCxnSpPr>
        <p:spPr>
          <a:xfrm flipH="1">
            <a:off x="6496594" y="3720347"/>
            <a:ext cx="2232313" cy="159927"/>
          </a:xfrm>
          <a:prstGeom prst="straightConnector1">
            <a:avLst/>
          </a:prstGeom>
          <a:ln w="31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ge pilforbindelse 23">
            <a:extLst>
              <a:ext uri="{FF2B5EF4-FFF2-40B4-BE49-F238E27FC236}">
                <a16:creationId xmlns:a16="http://schemas.microsoft.com/office/drawing/2014/main" id="{B01317CA-A141-4CAA-A6DD-CDFD5BC01917}"/>
              </a:ext>
            </a:extLst>
          </p:cNvPr>
          <p:cNvCxnSpPr>
            <a:cxnSpLocks/>
          </p:cNvCxnSpPr>
          <p:nvPr/>
        </p:nvCxnSpPr>
        <p:spPr>
          <a:xfrm flipH="1" flipV="1">
            <a:off x="6496594" y="4428092"/>
            <a:ext cx="2346764" cy="277625"/>
          </a:xfrm>
          <a:prstGeom prst="straightConnector1">
            <a:avLst/>
          </a:prstGeom>
          <a:ln w="31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felt 10">
            <a:extLst>
              <a:ext uri="{FF2B5EF4-FFF2-40B4-BE49-F238E27FC236}">
                <a16:creationId xmlns:a16="http://schemas.microsoft.com/office/drawing/2014/main" id="{90B98886-691D-4E07-8F94-20BA22B824A0}"/>
              </a:ext>
            </a:extLst>
          </p:cNvPr>
          <p:cNvSpPr txBox="1"/>
          <p:nvPr/>
        </p:nvSpPr>
        <p:spPr>
          <a:xfrm>
            <a:off x="2254874" y="5730486"/>
            <a:ext cx="226159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200">
                <a:solidFill>
                  <a:schemeClr val="tx2"/>
                </a:solidFill>
              </a:rPr>
              <a:t>CLEANKER (Italy, fangst, demo)</a:t>
            </a:r>
          </a:p>
        </p:txBody>
      </p:sp>
      <p:cxnSp>
        <p:nvCxnSpPr>
          <p:cNvPr id="26" name="Lige pilforbindelse 20">
            <a:extLst>
              <a:ext uri="{FF2B5EF4-FFF2-40B4-BE49-F238E27FC236}">
                <a16:creationId xmlns:a16="http://schemas.microsoft.com/office/drawing/2014/main" id="{A852AAFD-BD78-4A42-BE16-FF9A42CD50A2}"/>
              </a:ext>
            </a:extLst>
          </p:cNvPr>
          <p:cNvCxnSpPr>
            <a:cxnSpLocks/>
          </p:cNvCxnSpPr>
          <p:nvPr/>
        </p:nvCxnSpPr>
        <p:spPr>
          <a:xfrm>
            <a:off x="4533208" y="5874835"/>
            <a:ext cx="1221771" cy="161850"/>
          </a:xfrm>
          <a:prstGeom prst="straightConnector1">
            <a:avLst/>
          </a:prstGeom>
          <a:ln w="31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Lige pilforbindelse 23">
            <a:extLst>
              <a:ext uri="{FF2B5EF4-FFF2-40B4-BE49-F238E27FC236}">
                <a16:creationId xmlns:a16="http://schemas.microsoft.com/office/drawing/2014/main" id="{AB345A7B-B412-4811-892D-0EC82A80C694}"/>
              </a:ext>
            </a:extLst>
          </p:cNvPr>
          <p:cNvCxnSpPr>
            <a:cxnSpLocks/>
          </p:cNvCxnSpPr>
          <p:nvPr/>
        </p:nvCxnSpPr>
        <p:spPr>
          <a:xfrm flipH="1">
            <a:off x="6658253" y="5197962"/>
            <a:ext cx="2223264" cy="249478"/>
          </a:xfrm>
          <a:prstGeom prst="straightConnector1">
            <a:avLst/>
          </a:prstGeom>
          <a:ln w="31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Lige pilforbindelse 23">
            <a:extLst>
              <a:ext uri="{FF2B5EF4-FFF2-40B4-BE49-F238E27FC236}">
                <a16:creationId xmlns:a16="http://schemas.microsoft.com/office/drawing/2014/main" id="{85B9E08F-9E78-48EE-95EC-A85EE87E92CC}"/>
              </a:ext>
            </a:extLst>
          </p:cNvPr>
          <p:cNvCxnSpPr>
            <a:cxnSpLocks/>
          </p:cNvCxnSpPr>
          <p:nvPr/>
        </p:nvCxnSpPr>
        <p:spPr>
          <a:xfrm flipH="1" flipV="1">
            <a:off x="6658252" y="4705717"/>
            <a:ext cx="2185106" cy="250689"/>
          </a:xfrm>
          <a:prstGeom prst="straightConnector1">
            <a:avLst/>
          </a:prstGeom>
          <a:ln w="31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047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ulighederne i Aalborg</a:t>
            </a:r>
            <a:endParaRPr lang="en-GB" altLang="da-DK" dirty="0">
              <a:ea typeface="ＭＳ Ｐゴシック" panose="020B0600070205080204" pitchFamily="34" charset="-128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7DA8AB-D318-47C3-9C2E-491A92594C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1304925"/>
            <a:ext cx="6921591" cy="4668838"/>
          </a:xfrm>
        </p:spPr>
        <p:txBody>
          <a:bodyPr/>
          <a:lstStyle/>
          <a:p>
            <a:r>
              <a:rPr lang="da-DK" sz="1600" dirty="0"/>
              <a:t>Cementproduktion 24 timer i døgnet 365 dage om året og med råstoffer til mindst 130 år mere giver en stabil kilde med et brugbart CO</a:t>
            </a:r>
            <a:r>
              <a:rPr lang="da-DK" sz="1600" baseline="-25000" dirty="0"/>
              <a:t>2</a:t>
            </a:r>
            <a:r>
              <a:rPr lang="da-DK" sz="1600" dirty="0"/>
              <a:t>-indhold i røggasserne</a:t>
            </a:r>
          </a:p>
          <a:p>
            <a:pPr lvl="3"/>
            <a:endParaRPr lang="da-DK" dirty="0"/>
          </a:p>
          <a:p>
            <a:r>
              <a:rPr lang="da-DK" dirty="0"/>
              <a:t>Andre kilder i lokalområdet, f.eks. affaldsforbrænding og biogas</a:t>
            </a:r>
          </a:p>
          <a:p>
            <a:pPr lvl="3"/>
            <a:endParaRPr lang="da-DK" dirty="0"/>
          </a:p>
          <a:p>
            <a:r>
              <a:rPr lang="da-DK" sz="1600" dirty="0"/>
              <a:t>Gode udskibningsmuligheder til lagring i Nordsøen.</a:t>
            </a:r>
          </a:p>
          <a:p>
            <a:pPr lvl="3"/>
            <a:endParaRPr lang="da-DK" dirty="0"/>
          </a:p>
          <a:p>
            <a:r>
              <a:rPr lang="da-DK" sz="1600" dirty="0"/>
              <a:t>Der kan bygges videre på Danmarks største industrielle symbiose, hvor nøglefaktoren er den ekstensive anvendelse af overskudsvarme fra cementproduktionen og andre kilder – næste udvikling i den symbiose kan være med omdrejningspunkt i et CCUS-hub</a:t>
            </a:r>
          </a:p>
          <a:p>
            <a:pPr lvl="3"/>
            <a:endParaRPr lang="da-DK" dirty="0"/>
          </a:p>
          <a:p>
            <a:r>
              <a:rPr lang="da-DK" dirty="0"/>
              <a:t>Undersøges i projektet </a:t>
            </a:r>
            <a:r>
              <a:rPr lang="da-DK" dirty="0" err="1"/>
              <a:t>GreenCem</a:t>
            </a:r>
            <a:endParaRPr lang="da-DK" dirty="0"/>
          </a:p>
          <a:p>
            <a:pPr lvl="1"/>
            <a:r>
              <a:rPr lang="da-DK" dirty="0"/>
              <a:t>Formålet er at skabe et teknisk og økonomisk beslutningsgrundlag for at gå videre</a:t>
            </a:r>
          </a:p>
          <a:p>
            <a:pPr lvl="1"/>
            <a:r>
              <a:rPr lang="da-DK" dirty="0"/>
              <a:t>Budget: 11 million kr.</a:t>
            </a:r>
          </a:p>
          <a:p>
            <a:pPr lvl="1"/>
            <a:r>
              <a:rPr lang="da-DK" dirty="0"/>
              <a:t>Støttet af EUDP </a:t>
            </a:r>
          </a:p>
          <a:p>
            <a:pPr lvl="1"/>
            <a:r>
              <a:rPr lang="da-DK" dirty="0"/>
              <a:t>Partnere: Aalborg Portland, Aalborg Universitet, Aalborg Energy Holding, </a:t>
            </a:r>
            <a:r>
              <a:rPr lang="da-DK" dirty="0" err="1"/>
              <a:t>Re::Integrate</a:t>
            </a:r>
            <a:r>
              <a:rPr lang="da-DK" dirty="0"/>
              <a:t>, </a:t>
            </a:r>
            <a:r>
              <a:rPr lang="da-DK" dirty="0" err="1"/>
              <a:t>Cemtec</a:t>
            </a:r>
            <a:r>
              <a:rPr lang="da-DK" dirty="0"/>
              <a:t> Foundation, DFDS, Port of Aalbor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35C630-2ADA-3F44-B10C-236B37A67F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831876" y="815887"/>
            <a:ext cx="6039391" cy="4529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35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1A515780-268E-4A95-A0D6-86455CDA865B}"/>
              </a:ext>
            </a:extLst>
          </p:cNvPr>
          <p:cNvGrpSpPr/>
          <p:nvPr/>
        </p:nvGrpSpPr>
        <p:grpSpPr>
          <a:xfrm>
            <a:off x="1994263" y="508399"/>
            <a:ext cx="9467142" cy="5409428"/>
            <a:chOff x="1283763" y="990405"/>
            <a:chExt cx="9777047" cy="550759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6CD11D3-94FB-8140-B943-21DCDF2D3D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83763" y="990405"/>
              <a:ext cx="9777047" cy="550759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6D2D4BB-C644-CC4B-A395-242F380321A3}"/>
                </a:ext>
              </a:extLst>
            </p:cNvPr>
            <p:cNvSpPr txBox="1"/>
            <p:nvPr/>
          </p:nvSpPr>
          <p:spPr>
            <a:xfrm>
              <a:off x="1504710" y="5109271"/>
              <a:ext cx="486136" cy="266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solidFill>
                    <a:schemeClr val="tx2"/>
                  </a:solidFill>
                </a:rPr>
                <a:t>Nini</a:t>
              </a: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E0750F-7505-3345-84CC-A8A04ABCACF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26422" y="1271790"/>
            <a:ext cx="3951288" cy="2157210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 anchor="ctr">
            <a:noAutofit/>
          </a:bodyPr>
          <a:lstStyle/>
          <a:p>
            <a:pPr marL="338138" lvl="1" indent="0">
              <a:buNone/>
            </a:pPr>
            <a:r>
              <a:rPr lang="da-DK" sz="1600" b="1" dirty="0"/>
              <a:t>Udskibningsmuligheder</a:t>
            </a:r>
          </a:p>
          <a:p>
            <a:pPr marL="338138" lvl="1" indent="0">
              <a:buNone/>
            </a:pPr>
            <a:endParaRPr lang="da-DK" sz="600" b="1" dirty="0"/>
          </a:p>
          <a:p>
            <a:pPr marL="795338" lvl="1" indent="-457200">
              <a:buFont typeface="+mj-lt"/>
              <a:buAutoNum type="arabicPeriod"/>
            </a:pPr>
            <a:r>
              <a:rPr lang="da-DK" sz="1600" b="1" dirty="0"/>
              <a:t>Greensand</a:t>
            </a:r>
          </a:p>
          <a:p>
            <a:pPr marL="795338" lvl="1" indent="-457200">
              <a:buFont typeface="+mj-lt"/>
              <a:buAutoNum type="arabicPeriod"/>
            </a:pPr>
            <a:r>
              <a:rPr lang="da-DK" sz="1600" b="1" dirty="0"/>
              <a:t>Hanstholm </a:t>
            </a:r>
          </a:p>
          <a:p>
            <a:pPr marL="795338" lvl="1" indent="-457200">
              <a:buFont typeface="+mj-lt"/>
              <a:buAutoNum type="arabicPeriod"/>
            </a:pPr>
            <a:r>
              <a:rPr lang="da-DK" sz="1600" b="1" dirty="0"/>
              <a:t>Northern </a:t>
            </a:r>
            <a:r>
              <a:rPr lang="da-DK" sz="1600" b="1" dirty="0" err="1"/>
              <a:t>Lights</a:t>
            </a:r>
            <a:r>
              <a:rPr lang="da-DK" sz="1600" b="1" dirty="0"/>
              <a:t> (Norge)</a:t>
            </a:r>
          </a:p>
          <a:p>
            <a:pPr marL="795338" lvl="1" indent="-457200">
              <a:buFont typeface="+mj-lt"/>
              <a:buAutoNum type="arabicPeriod"/>
            </a:pPr>
            <a:r>
              <a:rPr lang="da-DK" sz="1600" b="1" dirty="0"/>
              <a:t>Vedsted</a:t>
            </a:r>
          </a:p>
          <a:p>
            <a:pPr marL="795338" lvl="1" indent="-457200">
              <a:buFont typeface="+mj-lt"/>
              <a:buAutoNum type="arabicPeriod"/>
            </a:pPr>
            <a:r>
              <a:rPr lang="da-DK" sz="1600" b="1" dirty="0"/>
              <a:t>Andre oliefelter i Nordsøen</a:t>
            </a:r>
            <a:endParaRPr lang="da-DK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E0FB10E-A587-4690-A241-8A32D2E2B86C}"/>
              </a:ext>
            </a:extLst>
          </p:cNvPr>
          <p:cNvSpPr txBox="1"/>
          <p:nvPr/>
        </p:nvSpPr>
        <p:spPr>
          <a:xfrm>
            <a:off x="2928008" y="185829"/>
            <a:ext cx="24994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>
                <a:solidFill>
                  <a:schemeClr val="tx2"/>
                </a:solidFill>
              </a:rPr>
              <a:t>Aurora Complex (Northern Lights)</a:t>
            </a:r>
          </a:p>
        </p:txBody>
      </p:sp>
    </p:spTree>
    <p:extLst>
      <p:ext uri="{BB962C8B-B14F-4D97-AF65-F5344CB8AC3E}">
        <p14:creationId xmlns:p14="http://schemas.microsoft.com/office/powerpoint/2010/main" val="177927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0E74219F-ED88-42B7-8FF2-D69E628EB08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 detail="2"/>
                    </a14:imgEffect>
                  </a14:imgLayer>
                </a14:imgProps>
              </a:ext>
            </a:extLst>
          </a:blip>
          <a:srcRect l="26226" t="15037" r="1" b="4445"/>
          <a:stretch/>
        </p:blipFill>
        <p:spPr>
          <a:xfrm>
            <a:off x="573466" y="0"/>
            <a:ext cx="11196503" cy="6873970"/>
          </a:xfrm>
          <a:prstGeom prst="rect">
            <a:avLst/>
          </a:prstGeom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596FF850-3FD4-44DE-80C0-248BF6E5FC0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96381" y="-47942"/>
            <a:ext cx="744847" cy="1108123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0E7C69BA-47BC-419F-973D-0568DF7362FF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379365" y="-183846"/>
            <a:ext cx="708936" cy="1054698"/>
          </a:xfrm>
          <a:prstGeom prst="rect">
            <a:avLst/>
          </a:prstGeom>
        </p:spPr>
      </p:pic>
      <p:pic>
        <p:nvPicPr>
          <p:cNvPr id="5" name="Picture 8">
            <a:extLst>
              <a:ext uri="{FF2B5EF4-FFF2-40B4-BE49-F238E27FC236}">
                <a16:creationId xmlns:a16="http://schemas.microsoft.com/office/drawing/2014/main" id="{3E9444CC-7FC3-4C77-9274-95F46536922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83031" y="-29165"/>
            <a:ext cx="652301" cy="970441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C79C72D2-1E43-4170-92EE-A10227A85E95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09181" y="2596649"/>
            <a:ext cx="596348" cy="332439"/>
          </a:xfrm>
          <a:prstGeom prst="rect">
            <a:avLst/>
          </a:prstGeom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6BD7211F-F18B-4C14-83EB-7677E51CDA2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92417" y="388109"/>
            <a:ext cx="581705" cy="324275"/>
          </a:xfrm>
          <a:prstGeom prst="rect">
            <a:avLst/>
          </a:prstGeom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A35B94F9-71FA-458C-AA6F-2B75FD93675A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690026" y="2890658"/>
            <a:ext cx="707484" cy="1052537"/>
          </a:xfrm>
          <a:prstGeom prst="rect">
            <a:avLst/>
          </a:prstGeom>
        </p:spPr>
      </p:pic>
      <p:grpSp>
        <p:nvGrpSpPr>
          <p:cNvPr id="26" name="Gruppe 25">
            <a:extLst>
              <a:ext uri="{FF2B5EF4-FFF2-40B4-BE49-F238E27FC236}">
                <a16:creationId xmlns:a16="http://schemas.microsoft.com/office/drawing/2014/main" id="{63DE098C-C995-4F78-A5D6-3E92551E31A7}"/>
              </a:ext>
            </a:extLst>
          </p:cNvPr>
          <p:cNvGrpSpPr/>
          <p:nvPr/>
        </p:nvGrpSpPr>
        <p:grpSpPr>
          <a:xfrm rot="1428848">
            <a:off x="7605668" y="714873"/>
            <a:ext cx="702638" cy="323836"/>
            <a:chOff x="10197209" y="2344730"/>
            <a:chExt cx="702638" cy="323836"/>
          </a:xfrm>
        </p:grpSpPr>
        <p:cxnSp>
          <p:nvCxnSpPr>
            <p:cNvPr id="9" name="Straight Connector 14">
              <a:extLst>
                <a:ext uri="{FF2B5EF4-FFF2-40B4-BE49-F238E27FC236}">
                  <a16:creationId xmlns:a16="http://schemas.microsoft.com/office/drawing/2014/main" id="{B3303337-767D-4B91-9454-BD6D9FE7E29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545385" y="2344730"/>
              <a:ext cx="354462" cy="223436"/>
            </a:xfrm>
            <a:prstGeom prst="line">
              <a:avLst/>
            </a:prstGeom>
            <a:ln w="31750">
              <a:solidFill>
                <a:srgbClr val="70AD47"/>
              </a:solidFill>
              <a:prstDash val="dash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5">
              <a:extLst>
                <a:ext uri="{FF2B5EF4-FFF2-40B4-BE49-F238E27FC236}">
                  <a16:creationId xmlns:a16="http://schemas.microsoft.com/office/drawing/2014/main" id="{57FA480A-DDF5-45E0-8C9A-C7B860422D0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97209" y="2568166"/>
              <a:ext cx="306189" cy="100400"/>
            </a:xfrm>
            <a:prstGeom prst="line">
              <a:avLst/>
            </a:prstGeom>
            <a:ln w="31750">
              <a:solidFill>
                <a:srgbClr val="70AD47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43">
            <a:extLst>
              <a:ext uri="{FF2B5EF4-FFF2-40B4-BE49-F238E27FC236}">
                <a16:creationId xmlns:a16="http://schemas.microsoft.com/office/drawing/2014/main" id="{DDC73142-5669-47E1-A4A1-5D72B601AF84}"/>
              </a:ext>
            </a:extLst>
          </p:cNvPr>
          <p:cNvSpPr txBox="1"/>
          <p:nvPr/>
        </p:nvSpPr>
        <p:spPr>
          <a:xfrm>
            <a:off x="6839262" y="146214"/>
            <a:ext cx="167329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jernvar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lborg Forsyning</a:t>
            </a: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" name="Picture 51">
            <a:extLst>
              <a:ext uri="{FF2B5EF4-FFF2-40B4-BE49-F238E27FC236}">
                <a16:creationId xmlns:a16="http://schemas.microsoft.com/office/drawing/2014/main" id="{84113E1B-B957-4959-883C-AB292903BD0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2065" y="509143"/>
            <a:ext cx="1013629" cy="911839"/>
          </a:xfrm>
          <a:prstGeom prst="rect">
            <a:avLst/>
          </a:prstGeom>
        </p:spPr>
      </p:pic>
      <p:pic>
        <p:nvPicPr>
          <p:cNvPr id="17" name="Picture 55">
            <a:extLst>
              <a:ext uri="{FF2B5EF4-FFF2-40B4-BE49-F238E27FC236}">
                <a16:creationId xmlns:a16="http://schemas.microsoft.com/office/drawing/2014/main" id="{E95424FC-F2BA-4232-B71D-BBAB59D054F1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497415" y="1399098"/>
            <a:ext cx="537870" cy="299839"/>
          </a:xfrm>
          <a:prstGeom prst="rect">
            <a:avLst/>
          </a:prstGeom>
        </p:spPr>
      </p:pic>
      <p:pic>
        <p:nvPicPr>
          <p:cNvPr id="18" name="Picture 13">
            <a:extLst>
              <a:ext uri="{FF2B5EF4-FFF2-40B4-BE49-F238E27FC236}">
                <a16:creationId xmlns:a16="http://schemas.microsoft.com/office/drawing/2014/main" id="{DFEEE570-9F3C-4397-B65C-A492905BCB2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76401" y="1047406"/>
            <a:ext cx="744847" cy="1108123"/>
          </a:xfrm>
          <a:prstGeom prst="rect">
            <a:avLst/>
          </a:prstGeom>
        </p:spPr>
      </p:pic>
      <p:pic>
        <p:nvPicPr>
          <p:cNvPr id="19" name="Picture 56">
            <a:extLst>
              <a:ext uri="{FF2B5EF4-FFF2-40B4-BE49-F238E27FC236}">
                <a16:creationId xmlns:a16="http://schemas.microsoft.com/office/drawing/2014/main" id="{5E77A19A-53B1-44A0-AAD0-DA93EAC04FB2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49056" y="950247"/>
            <a:ext cx="578996" cy="322765"/>
          </a:xfrm>
          <a:prstGeom prst="rect">
            <a:avLst/>
          </a:prstGeom>
        </p:spPr>
      </p:pic>
      <p:pic>
        <p:nvPicPr>
          <p:cNvPr id="20" name="Picture 57">
            <a:extLst>
              <a:ext uri="{FF2B5EF4-FFF2-40B4-BE49-F238E27FC236}">
                <a16:creationId xmlns:a16="http://schemas.microsoft.com/office/drawing/2014/main" id="{BC18C3FA-ABAA-4D23-B354-581CF44AF2AF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67717" y="995359"/>
            <a:ext cx="614998" cy="342835"/>
          </a:xfrm>
          <a:prstGeom prst="rect">
            <a:avLst/>
          </a:prstGeom>
        </p:spPr>
      </p:pic>
      <p:pic>
        <p:nvPicPr>
          <p:cNvPr id="21" name="Picture 63">
            <a:extLst>
              <a:ext uri="{FF2B5EF4-FFF2-40B4-BE49-F238E27FC236}">
                <a16:creationId xmlns:a16="http://schemas.microsoft.com/office/drawing/2014/main" id="{5326F0C1-EFA9-422D-A030-75EAB60FAF2D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99847" y="957408"/>
            <a:ext cx="603843" cy="336617"/>
          </a:xfrm>
          <a:prstGeom prst="rect">
            <a:avLst/>
          </a:prstGeom>
        </p:spPr>
      </p:pic>
      <p:pic>
        <p:nvPicPr>
          <p:cNvPr id="22" name="Picture 58">
            <a:extLst>
              <a:ext uri="{FF2B5EF4-FFF2-40B4-BE49-F238E27FC236}">
                <a16:creationId xmlns:a16="http://schemas.microsoft.com/office/drawing/2014/main" id="{90CE7ECC-2C71-416B-BA13-8F6471DE416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870529" y="1482117"/>
            <a:ext cx="564803" cy="314853"/>
          </a:xfrm>
          <a:prstGeom prst="rect">
            <a:avLst/>
          </a:prstGeom>
        </p:spPr>
      </p:pic>
      <p:pic>
        <p:nvPicPr>
          <p:cNvPr id="23" name="Picture 7">
            <a:extLst>
              <a:ext uri="{FF2B5EF4-FFF2-40B4-BE49-F238E27FC236}">
                <a16:creationId xmlns:a16="http://schemas.microsoft.com/office/drawing/2014/main" id="{FD3BBD2C-C9E3-44A7-9197-556C8C1BC788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173339" y="1302177"/>
            <a:ext cx="753746" cy="1121363"/>
          </a:xfrm>
          <a:prstGeom prst="rect">
            <a:avLst/>
          </a:prstGeom>
        </p:spPr>
      </p:pic>
      <p:sp>
        <p:nvSpPr>
          <p:cNvPr id="24" name="TextBox 72">
            <a:extLst>
              <a:ext uri="{FF2B5EF4-FFF2-40B4-BE49-F238E27FC236}">
                <a16:creationId xmlns:a16="http://schemas.microsoft.com/office/drawing/2014/main" id="{59D154F9-D909-4A57-80A6-06A3D0399ADC}"/>
              </a:ext>
            </a:extLst>
          </p:cNvPr>
          <p:cNvSpPr txBox="1"/>
          <p:nvPr/>
        </p:nvSpPr>
        <p:spPr>
          <a:xfrm>
            <a:off x="6701567" y="1110650"/>
            <a:ext cx="1462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ktrolyse</a:t>
            </a:r>
            <a:endParaRPr kumimoji="0" lang="da-DK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108">
            <a:extLst>
              <a:ext uri="{FF2B5EF4-FFF2-40B4-BE49-F238E27FC236}">
                <a16:creationId xmlns:a16="http://schemas.microsoft.com/office/drawing/2014/main" id="{73373359-D761-4C01-911B-27C6C129BD53}"/>
              </a:ext>
            </a:extLst>
          </p:cNvPr>
          <p:cNvSpPr txBox="1"/>
          <p:nvPr/>
        </p:nvSpPr>
        <p:spPr>
          <a:xfrm>
            <a:off x="7935113" y="568210"/>
            <a:ext cx="6431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00kV</a:t>
            </a:r>
          </a:p>
        </p:txBody>
      </p:sp>
      <p:pic>
        <p:nvPicPr>
          <p:cNvPr id="27" name="Picture 55">
            <a:extLst>
              <a:ext uri="{FF2B5EF4-FFF2-40B4-BE49-F238E27FC236}">
                <a16:creationId xmlns:a16="http://schemas.microsoft.com/office/drawing/2014/main" id="{7E574647-2495-47C0-8AB2-37CC150E9612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38256" y="2021533"/>
            <a:ext cx="537870" cy="299839"/>
          </a:xfrm>
          <a:prstGeom prst="rect">
            <a:avLst/>
          </a:prstGeom>
        </p:spPr>
      </p:pic>
      <p:pic>
        <p:nvPicPr>
          <p:cNvPr id="28" name="Picture 55">
            <a:extLst>
              <a:ext uri="{FF2B5EF4-FFF2-40B4-BE49-F238E27FC236}">
                <a16:creationId xmlns:a16="http://schemas.microsoft.com/office/drawing/2014/main" id="{0CBDB426-6BCC-4954-962F-8D7016BE6CCE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673644" y="2601380"/>
            <a:ext cx="537870" cy="299839"/>
          </a:xfrm>
          <a:prstGeom prst="rect">
            <a:avLst/>
          </a:prstGeom>
        </p:spPr>
      </p:pic>
      <p:pic>
        <p:nvPicPr>
          <p:cNvPr id="29" name="Picture 3">
            <a:extLst>
              <a:ext uri="{FF2B5EF4-FFF2-40B4-BE49-F238E27FC236}">
                <a16:creationId xmlns:a16="http://schemas.microsoft.com/office/drawing/2014/main" id="{DAD6809A-3F47-4371-816B-BE48FDBB09E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9582" y="1954504"/>
            <a:ext cx="882230" cy="793491"/>
          </a:xfrm>
          <a:prstGeom prst="rect">
            <a:avLst/>
          </a:prstGeom>
        </p:spPr>
      </p:pic>
      <p:sp>
        <p:nvSpPr>
          <p:cNvPr id="31" name="TextBox 17">
            <a:extLst>
              <a:ext uri="{FF2B5EF4-FFF2-40B4-BE49-F238E27FC236}">
                <a16:creationId xmlns:a16="http://schemas.microsoft.com/office/drawing/2014/main" id="{313EA81D-17B4-4BAE-8BAC-596858CD9972}"/>
              </a:ext>
            </a:extLst>
          </p:cNvPr>
          <p:cNvSpPr txBox="1"/>
          <p:nvPr/>
        </p:nvSpPr>
        <p:spPr>
          <a:xfrm>
            <a:off x="3658894" y="2442"/>
            <a:ext cx="232388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i="1">
                <a:solidFill>
                  <a:prstClr val="black"/>
                </a:solidFill>
                <a:latin typeface="Calibri" panose="020F0502020204030204"/>
              </a:rPr>
              <a:t>Production af brændstof</a:t>
            </a:r>
            <a:br>
              <a:rPr lang="da-DK" sz="1400" i="1">
                <a:solidFill>
                  <a:prstClr val="black"/>
                </a:solidFill>
                <a:latin typeface="Calibri" panose="020F0502020204030204"/>
              </a:rPr>
            </a:b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ntegrate</a:t>
            </a: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Picture 29">
            <a:extLst>
              <a:ext uri="{FF2B5EF4-FFF2-40B4-BE49-F238E27FC236}">
                <a16:creationId xmlns:a16="http://schemas.microsoft.com/office/drawing/2014/main" id="{1ACC04F5-BE2C-4368-A785-BBFB9F71A82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6382" y="2241940"/>
            <a:ext cx="534326" cy="435761"/>
          </a:xfrm>
          <a:prstGeom prst="rect">
            <a:avLst/>
          </a:prstGeom>
        </p:spPr>
      </p:pic>
      <p:pic>
        <p:nvPicPr>
          <p:cNvPr id="34" name="Picture 30">
            <a:extLst>
              <a:ext uri="{FF2B5EF4-FFF2-40B4-BE49-F238E27FC236}">
                <a16:creationId xmlns:a16="http://schemas.microsoft.com/office/drawing/2014/main" id="{F59B9A01-9FF7-46C0-97FA-C80CA995B90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9236" y="1877763"/>
            <a:ext cx="511007" cy="364177"/>
          </a:xfrm>
          <a:prstGeom prst="rect">
            <a:avLst/>
          </a:prstGeom>
        </p:spPr>
      </p:pic>
      <p:sp>
        <p:nvSpPr>
          <p:cNvPr id="35" name="TextBox 31">
            <a:extLst>
              <a:ext uri="{FF2B5EF4-FFF2-40B4-BE49-F238E27FC236}">
                <a16:creationId xmlns:a16="http://schemas.microsoft.com/office/drawing/2014/main" id="{59800E80-852A-4A61-9048-EAE4B3415336}"/>
              </a:ext>
            </a:extLst>
          </p:cNvPr>
          <p:cNvSpPr txBox="1"/>
          <p:nvPr/>
        </p:nvSpPr>
        <p:spPr>
          <a:xfrm>
            <a:off x="1573790" y="1399061"/>
            <a:ext cx="18905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lagring af brænds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 of Aalborg</a:t>
            </a: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4">
            <a:extLst>
              <a:ext uri="{FF2B5EF4-FFF2-40B4-BE49-F238E27FC236}">
                <a16:creationId xmlns:a16="http://schemas.microsoft.com/office/drawing/2014/main" id="{D991C2E3-36E1-4099-806B-762B86EB31B3}"/>
              </a:ext>
            </a:extLst>
          </p:cNvPr>
          <p:cNvSpPr txBox="1"/>
          <p:nvPr/>
        </p:nvSpPr>
        <p:spPr>
          <a:xfrm>
            <a:off x="4102908" y="2203278"/>
            <a:ext cx="16980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</a:t>
            </a:r>
            <a:r>
              <a:rPr kumimoji="0" lang="en-US" sz="14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fangst</a:t>
            </a:r>
          </a:p>
        </p:txBody>
      </p:sp>
      <p:cxnSp>
        <p:nvCxnSpPr>
          <p:cNvPr id="38" name="Straight Connector 40">
            <a:extLst>
              <a:ext uri="{FF2B5EF4-FFF2-40B4-BE49-F238E27FC236}">
                <a16:creationId xmlns:a16="http://schemas.microsoft.com/office/drawing/2014/main" id="{855E1A07-8CA0-4AB3-A90E-8196C4B3DE02}"/>
              </a:ext>
            </a:extLst>
          </p:cNvPr>
          <p:cNvCxnSpPr>
            <a:cxnSpLocks/>
          </p:cNvCxnSpPr>
          <p:nvPr/>
        </p:nvCxnSpPr>
        <p:spPr>
          <a:xfrm flipH="1">
            <a:off x="3244359" y="473786"/>
            <a:ext cx="2593218" cy="1371986"/>
          </a:xfrm>
          <a:prstGeom prst="line">
            <a:avLst/>
          </a:prstGeom>
          <a:ln w="28575">
            <a:solidFill>
              <a:schemeClr val="tx1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45">
            <a:extLst>
              <a:ext uri="{FF2B5EF4-FFF2-40B4-BE49-F238E27FC236}">
                <a16:creationId xmlns:a16="http://schemas.microsoft.com/office/drawing/2014/main" id="{499C3D95-0A0B-4F75-9CF5-F6923045A4F8}"/>
              </a:ext>
            </a:extLst>
          </p:cNvPr>
          <p:cNvSpPr txBox="1"/>
          <p:nvPr/>
        </p:nvSpPr>
        <p:spPr>
          <a:xfrm>
            <a:off x="3088167" y="1196253"/>
            <a:ext cx="631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fuel</a:t>
            </a:r>
          </a:p>
        </p:txBody>
      </p:sp>
      <p:pic>
        <p:nvPicPr>
          <p:cNvPr id="41" name="Picture 46">
            <a:extLst>
              <a:ext uri="{FF2B5EF4-FFF2-40B4-BE49-F238E27FC236}">
                <a16:creationId xmlns:a16="http://schemas.microsoft.com/office/drawing/2014/main" id="{DE7B165B-5509-4F1A-8BFB-10044711A94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571" y="-52524"/>
            <a:ext cx="791955" cy="732524"/>
          </a:xfrm>
          <a:prstGeom prst="rect">
            <a:avLst/>
          </a:prstGeom>
        </p:spPr>
      </p:pic>
      <p:pic>
        <p:nvPicPr>
          <p:cNvPr id="42" name="Picture 82">
            <a:extLst>
              <a:ext uri="{FF2B5EF4-FFF2-40B4-BE49-F238E27FC236}">
                <a16:creationId xmlns:a16="http://schemas.microsoft.com/office/drawing/2014/main" id="{A9E546EE-9C78-4BC0-95B1-45389347532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9540">
            <a:off x="4054048" y="2196756"/>
            <a:ext cx="535709" cy="730221"/>
          </a:xfrm>
          <a:prstGeom prst="rect">
            <a:avLst/>
          </a:prstGeom>
        </p:spPr>
      </p:pic>
      <p:pic>
        <p:nvPicPr>
          <p:cNvPr id="46" name="Picture 6">
            <a:extLst>
              <a:ext uri="{FF2B5EF4-FFF2-40B4-BE49-F238E27FC236}">
                <a16:creationId xmlns:a16="http://schemas.microsoft.com/office/drawing/2014/main" id="{8627845C-EFA1-4F1E-B284-8551C1D2604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551" y="5547519"/>
            <a:ext cx="358841" cy="520998"/>
          </a:xfrm>
          <a:prstGeom prst="rect">
            <a:avLst/>
          </a:prstGeom>
        </p:spPr>
      </p:pic>
      <p:pic>
        <p:nvPicPr>
          <p:cNvPr id="47" name="Picture 7">
            <a:extLst>
              <a:ext uri="{FF2B5EF4-FFF2-40B4-BE49-F238E27FC236}">
                <a16:creationId xmlns:a16="http://schemas.microsoft.com/office/drawing/2014/main" id="{1624F1B9-367B-46E0-BF04-4ED81588324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24597">
            <a:off x="5047764" y="5898637"/>
            <a:ext cx="567127" cy="510082"/>
          </a:xfrm>
          <a:prstGeom prst="rect">
            <a:avLst/>
          </a:prstGeom>
        </p:spPr>
      </p:pic>
      <p:sp>
        <p:nvSpPr>
          <p:cNvPr id="48" name="TextBox 16">
            <a:extLst>
              <a:ext uri="{FF2B5EF4-FFF2-40B4-BE49-F238E27FC236}">
                <a16:creationId xmlns:a16="http://schemas.microsoft.com/office/drawing/2014/main" id="{D8700898-FEE3-4AA2-8538-B3E8A7DB9CEB}"/>
              </a:ext>
            </a:extLst>
          </p:cNvPr>
          <p:cNvSpPr txBox="1"/>
          <p:nvPr/>
        </p:nvSpPr>
        <p:spPr>
          <a:xfrm>
            <a:off x="5494557" y="5822295"/>
            <a:ext cx="190326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aldsforbrænd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noNord</a:t>
            </a: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Picture 29">
            <a:extLst>
              <a:ext uri="{FF2B5EF4-FFF2-40B4-BE49-F238E27FC236}">
                <a16:creationId xmlns:a16="http://schemas.microsoft.com/office/drawing/2014/main" id="{73DC2B5D-036E-45DB-A32A-21D7B9B15FE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42" r="66223"/>
          <a:stretch/>
        </p:blipFill>
        <p:spPr>
          <a:xfrm rot="18692440">
            <a:off x="3440291" y="4538008"/>
            <a:ext cx="556016" cy="1407727"/>
          </a:xfrm>
          <a:prstGeom prst="rect">
            <a:avLst/>
          </a:prstGeom>
        </p:spPr>
      </p:pic>
      <p:sp>
        <p:nvSpPr>
          <p:cNvPr id="50" name="TextBox 39">
            <a:extLst>
              <a:ext uri="{FF2B5EF4-FFF2-40B4-BE49-F238E27FC236}">
                <a16:creationId xmlns:a16="http://schemas.microsoft.com/office/drawing/2014/main" id="{6607B2AA-68A3-4BEF-B7B9-63177D332A3D}"/>
              </a:ext>
            </a:extLst>
          </p:cNvPr>
          <p:cNvSpPr txBox="1"/>
          <p:nvPr/>
        </p:nvSpPr>
        <p:spPr>
          <a:xfrm>
            <a:off x="5146323" y="5518634"/>
            <a:ext cx="16254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</a:t>
            </a:r>
            <a:r>
              <a:rPr kumimoji="0" lang="en-US" sz="14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fangs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8" name="Straight Connector 44">
            <a:extLst>
              <a:ext uri="{FF2B5EF4-FFF2-40B4-BE49-F238E27FC236}">
                <a16:creationId xmlns:a16="http://schemas.microsoft.com/office/drawing/2014/main" id="{8940850F-89EB-4689-8752-FFC12353B535}"/>
              </a:ext>
            </a:extLst>
          </p:cNvPr>
          <p:cNvCxnSpPr>
            <a:cxnSpLocks/>
          </p:cNvCxnSpPr>
          <p:nvPr/>
        </p:nvCxnSpPr>
        <p:spPr>
          <a:xfrm flipH="1">
            <a:off x="4224568" y="1175178"/>
            <a:ext cx="2836952" cy="1109118"/>
          </a:xfrm>
          <a:prstGeom prst="line">
            <a:avLst/>
          </a:prstGeom>
          <a:ln w="31750">
            <a:solidFill>
              <a:srgbClr val="FFC00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40">
            <a:extLst>
              <a:ext uri="{FF2B5EF4-FFF2-40B4-BE49-F238E27FC236}">
                <a16:creationId xmlns:a16="http://schemas.microsoft.com/office/drawing/2014/main" id="{EDAA7342-83C5-4E10-8BDD-AFB794E04CE0}"/>
              </a:ext>
            </a:extLst>
          </p:cNvPr>
          <p:cNvCxnSpPr>
            <a:cxnSpLocks/>
          </p:cNvCxnSpPr>
          <p:nvPr/>
        </p:nvCxnSpPr>
        <p:spPr>
          <a:xfrm flipH="1" flipV="1">
            <a:off x="6531924" y="664738"/>
            <a:ext cx="290720" cy="341964"/>
          </a:xfrm>
          <a:prstGeom prst="line">
            <a:avLst/>
          </a:prstGeom>
          <a:ln w="31750">
            <a:solidFill>
              <a:srgbClr val="00B05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42">
            <a:extLst>
              <a:ext uri="{FF2B5EF4-FFF2-40B4-BE49-F238E27FC236}">
                <a16:creationId xmlns:a16="http://schemas.microsoft.com/office/drawing/2014/main" id="{928AB531-425A-488F-987D-7892D1E01793}"/>
              </a:ext>
            </a:extLst>
          </p:cNvPr>
          <p:cNvSpPr txBox="1"/>
          <p:nvPr/>
        </p:nvSpPr>
        <p:spPr>
          <a:xfrm>
            <a:off x="5004581" y="1905319"/>
            <a:ext cx="8228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xygen</a:t>
            </a:r>
          </a:p>
        </p:txBody>
      </p:sp>
      <p:sp>
        <p:nvSpPr>
          <p:cNvPr id="68" name="TextBox 42">
            <a:extLst>
              <a:ext uri="{FF2B5EF4-FFF2-40B4-BE49-F238E27FC236}">
                <a16:creationId xmlns:a16="http://schemas.microsoft.com/office/drawing/2014/main" id="{A1AB5642-B951-4085-9E9F-B326DA31CB31}"/>
              </a:ext>
            </a:extLst>
          </p:cNvPr>
          <p:cNvSpPr txBox="1"/>
          <p:nvPr/>
        </p:nvSpPr>
        <p:spPr>
          <a:xfrm>
            <a:off x="6136502" y="983022"/>
            <a:ext cx="1053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drogen</a:t>
            </a:r>
          </a:p>
        </p:txBody>
      </p:sp>
      <p:sp>
        <p:nvSpPr>
          <p:cNvPr id="11" name="TextBox 16">
            <a:extLst>
              <a:ext uri="{FF2B5EF4-FFF2-40B4-BE49-F238E27FC236}">
                <a16:creationId xmlns:a16="http://schemas.microsoft.com/office/drawing/2014/main" id="{44198045-52DF-4A48-B4FF-9BB34ABE2685}"/>
              </a:ext>
            </a:extLst>
          </p:cNvPr>
          <p:cNvSpPr txBox="1"/>
          <p:nvPr/>
        </p:nvSpPr>
        <p:spPr>
          <a:xfrm>
            <a:off x="8000703" y="886036"/>
            <a:ext cx="14258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øn elektricitet</a:t>
            </a:r>
          </a:p>
        </p:txBody>
      </p:sp>
      <p:pic>
        <p:nvPicPr>
          <p:cNvPr id="69" name="Picture 19">
            <a:extLst>
              <a:ext uri="{FF2B5EF4-FFF2-40B4-BE49-F238E27FC236}">
                <a16:creationId xmlns:a16="http://schemas.microsoft.com/office/drawing/2014/main" id="{48154DA0-AF63-412D-8388-616021FB3E5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355" r="20930"/>
          <a:stretch/>
        </p:blipFill>
        <p:spPr>
          <a:xfrm rot="20084438">
            <a:off x="7001221" y="1203226"/>
            <a:ext cx="795002" cy="1626792"/>
          </a:xfrm>
          <a:prstGeom prst="rect">
            <a:avLst/>
          </a:prstGeom>
        </p:spPr>
      </p:pic>
      <p:sp>
        <p:nvSpPr>
          <p:cNvPr id="71" name="Rektangel 70">
            <a:extLst>
              <a:ext uri="{FF2B5EF4-FFF2-40B4-BE49-F238E27FC236}">
                <a16:creationId xmlns:a16="http://schemas.microsoft.com/office/drawing/2014/main" id="{5CC91023-7639-4616-83AC-2112A24FC309}"/>
              </a:ext>
            </a:extLst>
          </p:cNvPr>
          <p:cNvSpPr/>
          <p:nvPr/>
        </p:nvSpPr>
        <p:spPr>
          <a:xfrm rot="2367818">
            <a:off x="7113459" y="2540595"/>
            <a:ext cx="529729" cy="244141"/>
          </a:xfrm>
          <a:prstGeom prst="rect">
            <a:avLst/>
          </a:prstGeom>
          <a:solidFill>
            <a:srgbClr val="E1EC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50">
            <a:extLst>
              <a:ext uri="{FF2B5EF4-FFF2-40B4-BE49-F238E27FC236}">
                <a16:creationId xmlns:a16="http://schemas.microsoft.com/office/drawing/2014/main" id="{7B8077FF-A9D8-4231-8BEE-C3F5084EFE7A}"/>
              </a:ext>
            </a:extLst>
          </p:cNvPr>
          <p:cNvSpPr txBox="1"/>
          <p:nvPr/>
        </p:nvSpPr>
        <p:spPr>
          <a:xfrm>
            <a:off x="7103561" y="2325223"/>
            <a:ext cx="16732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</a:t>
            </a:r>
            <a:r>
              <a:rPr kumimoji="0" lang="en-US" sz="14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gring</a:t>
            </a:r>
            <a:endParaRPr kumimoji="0" lang="en-US" sz="1400" b="0" i="1" u="none" strike="noStrike" kern="1200" cap="none" spc="0" normalizeH="0" baseline="-25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760B2A0A-81AC-4308-A960-7964139F007B}"/>
              </a:ext>
            </a:extLst>
          </p:cNvPr>
          <p:cNvSpPr txBox="1"/>
          <p:nvPr/>
        </p:nvSpPr>
        <p:spPr>
          <a:xfrm>
            <a:off x="2508966" y="2593857"/>
            <a:ext cx="174703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mentproduk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lborg Portland</a:t>
            </a: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2" name="Straight Connector 35">
            <a:extLst>
              <a:ext uri="{FF2B5EF4-FFF2-40B4-BE49-F238E27FC236}">
                <a16:creationId xmlns:a16="http://schemas.microsoft.com/office/drawing/2014/main" id="{69192F15-7948-4B2C-9664-CC13E96E0B43}"/>
              </a:ext>
            </a:extLst>
          </p:cNvPr>
          <p:cNvCxnSpPr>
            <a:cxnSpLocks/>
          </p:cNvCxnSpPr>
          <p:nvPr/>
        </p:nvCxnSpPr>
        <p:spPr>
          <a:xfrm flipV="1">
            <a:off x="4145420" y="1337732"/>
            <a:ext cx="1975550" cy="842451"/>
          </a:xfrm>
          <a:prstGeom prst="line">
            <a:avLst/>
          </a:prstGeom>
          <a:ln w="31750">
            <a:solidFill>
              <a:srgbClr val="7030A0"/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41">
            <a:extLst>
              <a:ext uri="{FF2B5EF4-FFF2-40B4-BE49-F238E27FC236}">
                <a16:creationId xmlns:a16="http://schemas.microsoft.com/office/drawing/2014/main" id="{EE4C45B5-51E2-408E-93DF-A9DF3886BD3E}"/>
              </a:ext>
            </a:extLst>
          </p:cNvPr>
          <p:cNvSpPr txBox="1"/>
          <p:nvPr/>
        </p:nvSpPr>
        <p:spPr>
          <a:xfrm>
            <a:off x="5180791" y="1015350"/>
            <a:ext cx="502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</a:t>
            </a:r>
            <a:r>
              <a:rPr kumimoji="0" lang="en-US" sz="1400" b="1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cxnSp>
        <p:nvCxnSpPr>
          <p:cNvPr id="85" name="Straight Connector 35">
            <a:extLst>
              <a:ext uri="{FF2B5EF4-FFF2-40B4-BE49-F238E27FC236}">
                <a16:creationId xmlns:a16="http://schemas.microsoft.com/office/drawing/2014/main" id="{7F220CED-93C8-4DDD-B5CA-F229108FACD1}"/>
              </a:ext>
            </a:extLst>
          </p:cNvPr>
          <p:cNvCxnSpPr>
            <a:cxnSpLocks/>
          </p:cNvCxnSpPr>
          <p:nvPr/>
        </p:nvCxnSpPr>
        <p:spPr>
          <a:xfrm flipV="1">
            <a:off x="6614049" y="2044035"/>
            <a:ext cx="510261" cy="156487"/>
          </a:xfrm>
          <a:prstGeom prst="line">
            <a:avLst/>
          </a:prstGeom>
          <a:ln w="31750">
            <a:solidFill>
              <a:srgbClr val="7030A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37">
            <a:extLst>
              <a:ext uri="{FF2B5EF4-FFF2-40B4-BE49-F238E27FC236}">
                <a16:creationId xmlns:a16="http://schemas.microsoft.com/office/drawing/2014/main" id="{9D02E935-ECFA-463B-B924-F288E9714DB6}"/>
              </a:ext>
            </a:extLst>
          </p:cNvPr>
          <p:cNvCxnSpPr>
            <a:cxnSpLocks/>
            <a:stCxn id="16" idx="1"/>
          </p:cNvCxnSpPr>
          <p:nvPr/>
        </p:nvCxnSpPr>
        <p:spPr>
          <a:xfrm flipH="1" flipV="1">
            <a:off x="6952535" y="379093"/>
            <a:ext cx="49530" cy="585970"/>
          </a:xfrm>
          <a:prstGeom prst="line">
            <a:avLst/>
          </a:prstGeom>
          <a:ln w="31750">
            <a:solidFill>
              <a:srgbClr val="FF000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Picture 27">
            <a:extLst>
              <a:ext uri="{FF2B5EF4-FFF2-40B4-BE49-F238E27FC236}">
                <a16:creationId xmlns:a16="http://schemas.microsoft.com/office/drawing/2014/main" id="{FC9126C9-4B6B-47C6-A22E-85722C28192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42" r="66223"/>
          <a:stretch/>
        </p:blipFill>
        <p:spPr>
          <a:xfrm rot="20167358">
            <a:off x="8854705" y="562524"/>
            <a:ext cx="539083" cy="1364856"/>
          </a:xfrm>
          <a:prstGeom prst="rect">
            <a:avLst/>
          </a:prstGeom>
        </p:spPr>
      </p:pic>
      <p:pic>
        <p:nvPicPr>
          <p:cNvPr id="90" name="Picture 27">
            <a:extLst>
              <a:ext uri="{FF2B5EF4-FFF2-40B4-BE49-F238E27FC236}">
                <a16:creationId xmlns:a16="http://schemas.microsoft.com/office/drawing/2014/main" id="{373C0A80-9E66-4FFE-9D93-164B0547CAA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42" r="66223"/>
          <a:stretch/>
        </p:blipFill>
        <p:spPr>
          <a:xfrm rot="20880276">
            <a:off x="1716771" y="1503607"/>
            <a:ext cx="614094" cy="1554769"/>
          </a:xfrm>
          <a:prstGeom prst="rect">
            <a:avLst/>
          </a:prstGeom>
        </p:spPr>
      </p:pic>
      <p:pic>
        <p:nvPicPr>
          <p:cNvPr id="91" name="Picture 27">
            <a:extLst>
              <a:ext uri="{FF2B5EF4-FFF2-40B4-BE49-F238E27FC236}">
                <a16:creationId xmlns:a16="http://schemas.microsoft.com/office/drawing/2014/main" id="{434687A8-C06E-4DD5-96E7-D32C8AD7375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42" r="66223"/>
          <a:stretch/>
        </p:blipFill>
        <p:spPr>
          <a:xfrm rot="14451090">
            <a:off x="1596340" y="-218380"/>
            <a:ext cx="590046" cy="1493885"/>
          </a:xfrm>
          <a:prstGeom prst="rect">
            <a:avLst/>
          </a:prstGeom>
        </p:spPr>
      </p:pic>
      <p:cxnSp>
        <p:nvCxnSpPr>
          <p:cNvPr id="92" name="Straight Connector 35">
            <a:extLst>
              <a:ext uri="{FF2B5EF4-FFF2-40B4-BE49-F238E27FC236}">
                <a16:creationId xmlns:a16="http://schemas.microsoft.com/office/drawing/2014/main" id="{D4EFD5ED-24AE-4936-A6EC-D5396C57EBD8}"/>
              </a:ext>
            </a:extLst>
          </p:cNvPr>
          <p:cNvCxnSpPr>
            <a:cxnSpLocks/>
          </p:cNvCxnSpPr>
          <p:nvPr/>
        </p:nvCxnSpPr>
        <p:spPr>
          <a:xfrm flipV="1">
            <a:off x="5389233" y="3042805"/>
            <a:ext cx="1674476" cy="2537913"/>
          </a:xfrm>
          <a:prstGeom prst="line">
            <a:avLst/>
          </a:prstGeom>
          <a:ln w="31750">
            <a:solidFill>
              <a:srgbClr val="7030A0"/>
            </a:solidFill>
            <a:prstDash val="dash"/>
            <a:headEnd type="oval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30">
            <a:extLst>
              <a:ext uri="{FF2B5EF4-FFF2-40B4-BE49-F238E27FC236}">
                <a16:creationId xmlns:a16="http://schemas.microsoft.com/office/drawing/2014/main" id="{6FF976A1-0F44-420B-9234-944A124BD91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9902" y="2002674"/>
            <a:ext cx="477817" cy="340524"/>
          </a:xfrm>
          <a:prstGeom prst="rect">
            <a:avLst/>
          </a:prstGeom>
        </p:spPr>
      </p:pic>
      <p:cxnSp>
        <p:nvCxnSpPr>
          <p:cNvPr id="101" name="Straight Connector 35">
            <a:extLst>
              <a:ext uri="{FF2B5EF4-FFF2-40B4-BE49-F238E27FC236}">
                <a16:creationId xmlns:a16="http://schemas.microsoft.com/office/drawing/2014/main" id="{0A6BF6D7-E8D3-4C64-AF40-EC8AA2C3C313}"/>
              </a:ext>
            </a:extLst>
          </p:cNvPr>
          <p:cNvCxnSpPr>
            <a:cxnSpLocks/>
          </p:cNvCxnSpPr>
          <p:nvPr/>
        </p:nvCxnSpPr>
        <p:spPr>
          <a:xfrm flipH="1" flipV="1">
            <a:off x="6587450" y="2265904"/>
            <a:ext cx="470705" cy="771581"/>
          </a:xfrm>
          <a:prstGeom prst="line">
            <a:avLst/>
          </a:prstGeom>
          <a:ln w="31750">
            <a:solidFill>
              <a:srgbClr val="7030A0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35">
            <a:extLst>
              <a:ext uri="{FF2B5EF4-FFF2-40B4-BE49-F238E27FC236}">
                <a16:creationId xmlns:a16="http://schemas.microsoft.com/office/drawing/2014/main" id="{24BD806C-5ADE-4C4C-9A2E-3FD4A114E9E7}"/>
              </a:ext>
            </a:extLst>
          </p:cNvPr>
          <p:cNvCxnSpPr>
            <a:cxnSpLocks/>
          </p:cNvCxnSpPr>
          <p:nvPr/>
        </p:nvCxnSpPr>
        <p:spPr>
          <a:xfrm>
            <a:off x="6064355" y="1338385"/>
            <a:ext cx="142162" cy="344308"/>
          </a:xfrm>
          <a:prstGeom prst="line">
            <a:avLst/>
          </a:prstGeom>
          <a:ln w="31750">
            <a:solidFill>
              <a:srgbClr val="7030A0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35">
            <a:extLst>
              <a:ext uri="{FF2B5EF4-FFF2-40B4-BE49-F238E27FC236}">
                <a16:creationId xmlns:a16="http://schemas.microsoft.com/office/drawing/2014/main" id="{78BB5069-0C37-45F5-87C0-9544AD07FCA6}"/>
              </a:ext>
            </a:extLst>
          </p:cNvPr>
          <p:cNvCxnSpPr>
            <a:cxnSpLocks/>
          </p:cNvCxnSpPr>
          <p:nvPr/>
        </p:nvCxnSpPr>
        <p:spPr>
          <a:xfrm flipV="1">
            <a:off x="6096000" y="606088"/>
            <a:ext cx="126353" cy="742614"/>
          </a:xfrm>
          <a:prstGeom prst="line">
            <a:avLst/>
          </a:prstGeom>
          <a:ln w="31750">
            <a:solidFill>
              <a:srgbClr val="7030A0"/>
            </a:solidFill>
            <a:prstDash val="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6" name="Picture 55">
            <a:extLst>
              <a:ext uri="{FF2B5EF4-FFF2-40B4-BE49-F238E27FC236}">
                <a16:creationId xmlns:a16="http://schemas.microsoft.com/office/drawing/2014/main" id="{F4A64CBF-02A5-4E37-B818-4EBEC126003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312130" y="2372261"/>
            <a:ext cx="537870" cy="299839"/>
          </a:xfrm>
          <a:prstGeom prst="rect">
            <a:avLst/>
          </a:prstGeom>
        </p:spPr>
      </p:pic>
      <p:sp>
        <p:nvSpPr>
          <p:cNvPr id="127" name="TextBox 41">
            <a:extLst>
              <a:ext uri="{FF2B5EF4-FFF2-40B4-BE49-F238E27FC236}">
                <a16:creationId xmlns:a16="http://schemas.microsoft.com/office/drawing/2014/main" id="{51C42B7D-5339-4405-BB58-EE5CF5945727}"/>
              </a:ext>
            </a:extLst>
          </p:cNvPr>
          <p:cNvSpPr txBox="1"/>
          <p:nvPr/>
        </p:nvSpPr>
        <p:spPr>
          <a:xfrm>
            <a:off x="4597159" y="1543584"/>
            <a:ext cx="502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</a:t>
            </a:r>
            <a:r>
              <a:rPr kumimoji="0" lang="en-US" sz="1400" b="1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28" name="TextBox 41">
            <a:extLst>
              <a:ext uri="{FF2B5EF4-FFF2-40B4-BE49-F238E27FC236}">
                <a16:creationId xmlns:a16="http://schemas.microsoft.com/office/drawing/2014/main" id="{00522AF2-F096-46C4-BE68-FA46CCAB55E5}"/>
              </a:ext>
            </a:extLst>
          </p:cNvPr>
          <p:cNvSpPr txBox="1"/>
          <p:nvPr/>
        </p:nvSpPr>
        <p:spPr>
          <a:xfrm>
            <a:off x="6463669" y="3765142"/>
            <a:ext cx="502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</a:t>
            </a:r>
            <a:r>
              <a:rPr kumimoji="0" lang="en-US" sz="1400" b="1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pic>
        <p:nvPicPr>
          <p:cNvPr id="129" name="Picture 25">
            <a:extLst>
              <a:ext uri="{FF2B5EF4-FFF2-40B4-BE49-F238E27FC236}">
                <a16:creationId xmlns:a16="http://schemas.microsoft.com/office/drawing/2014/main" id="{E7A1CD66-FCA8-465A-B182-27E365BD8D6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172" r="-4921"/>
          <a:stretch/>
        </p:blipFill>
        <p:spPr>
          <a:xfrm rot="20193452">
            <a:off x="8220400" y="3907063"/>
            <a:ext cx="1803892" cy="2531426"/>
          </a:xfrm>
          <a:prstGeom prst="rect">
            <a:avLst/>
          </a:prstGeom>
        </p:spPr>
      </p:pic>
      <p:pic>
        <p:nvPicPr>
          <p:cNvPr id="74" name="Picture 82">
            <a:extLst>
              <a:ext uri="{FF2B5EF4-FFF2-40B4-BE49-F238E27FC236}">
                <a16:creationId xmlns:a16="http://schemas.microsoft.com/office/drawing/2014/main" id="{2D14F237-2357-4DE1-9FB2-25EC0B878D9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9540">
            <a:off x="6018302" y="1424660"/>
            <a:ext cx="535709" cy="730221"/>
          </a:xfrm>
          <a:prstGeom prst="rect">
            <a:avLst/>
          </a:prstGeom>
        </p:spPr>
      </p:pic>
      <p:sp>
        <p:nvSpPr>
          <p:cNvPr id="78" name="TextBox 43">
            <a:extLst>
              <a:ext uri="{FF2B5EF4-FFF2-40B4-BE49-F238E27FC236}">
                <a16:creationId xmlns:a16="http://schemas.microsoft.com/office/drawing/2014/main" id="{9B13F1B1-DBCB-404C-8B1C-4B797B880449}"/>
              </a:ext>
            </a:extLst>
          </p:cNvPr>
          <p:cNvSpPr txBox="1"/>
          <p:nvPr/>
        </p:nvSpPr>
        <p:spPr>
          <a:xfrm>
            <a:off x="5044589" y="2264320"/>
            <a:ext cx="17882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i="1" dirty="0">
                <a:solidFill>
                  <a:prstClr val="black"/>
                </a:solidFill>
                <a:latin typeface="Calibri" panose="020F0502020204030204"/>
              </a:rPr>
              <a:t>T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yksætning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g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lemlagring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O</a:t>
            </a:r>
            <a:r>
              <a:rPr kumimoji="0" lang="en-US" sz="1400" b="0" i="1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cxnSp>
        <p:nvCxnSpPr>
          <p:cNvPr id="76" name="Straight Connector 37">
            <a:extLst>
              <a:ext uri="{FF2B5EF4-FFF2-40B4-BE49-F238E27FC236}">
                <a16:creationId xmlns:a16="http://schemas.microsoft.com/office/drawing/2014/main" id="{7519CD14-FD12-4753-9C1D-4B154EDD5EED}"/>
              </a:ext>
            </a:extLst>
          </p:cNvPr>
          <p:cNvCxnSpPr>
            <a:cxnSpLocks/>
          </p:cNvCxnSpPr>
          <p:nvPr/>
        </p:nvCxnSpPr>
        <p:spPr>
          <a:xfrm flipH="1">
            <a:off x="2655128" y="2470853"/>
            <a:ext cx="613175" cy="91013"/>
          </a:xfrm>
          <a:prstGeom prst="line">
            <a:avLst/>
          </a:prstGeom>
          <a:ln w="31750">
            <a:solidFill>
              <a:srgbClr val="FF000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02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987F7-95C7-4DE7-B718-477AA1D39B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CCUS i Aalborg: Kan der laves en bæredygtig forretningsmodel?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0FC1DAE-21AF-41F4-A0FC-D5256EEB1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5" y="2748059"/>
            <a:ext cx="4669647" cy="2348981"/>
          </a:xfrm>
        </p:spPr>
        <p:txBody>
          <a:bodyPr/>
          <a:lstStyle/>
          <a:p>
            <a:r>
              <a:rPr lang="da-DK"/>
              <a:t>Anlægs- og driftsomkostninger er meget store:</a:t>
            </a:r>
          </a:p>
          <a:p>
            <a:pPr lvl="1"/>
            <a:r>
              <a:rPr lang="da-DK"/>
              <a:t>Longboat får 16,8 mio. NOK støtte</a:t>
            </a:r>
          </a:p>
          <a:p>
            <a:pPr lvl="3"/>
            <a:endParaRPr lang="da-DK"/>
          </a:p>
          <a:p>
            <a:r>
              <a:rPr lang="da-DK"/>
              <a:t>Er det muligt at etablere en bæredygtig forretningsmodel i Aalborg?</a:t>
            </a:r>
          </a:p>
          <a:p>
            <a:pPr lvl="1"/>
            <a:r>
              <a:rPr lang="da-DK"/>
              <a:t>Kan vi udnytte lokale symbioser</a:t>
            </a:r>
          </a:p>
          <a:p>
            <a:pPr lvl="1"/>
            <a:r>
              <a:rPr lang="da-DK"/>
              <a:t>PhD-projekt: Juanita Gallego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772C179-9186-4CED-8327-74F69A493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5</a:t>
            </a:fld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389069C-C83C-4A09-858B-BE9BA552E060}"/>
              </a:ext>
            </a:extLst>
          </p:cNvPr>
          <p:cNvGrpSpPr/>
          <p:nvPr/>
        </p:nvGrpSpPr>
        <p:grpSpPr>
          <a:xfrm>
            <a:off x="3767909" y="884237"/>
            <a:ext cx="8175761" cy="4850147"/>
            <a:chOff x="240938" y="964837"/>
            <a:chExt cx="8175761" cy="4850147"/>
          </a:xfrm>
        </p:grpSpPr>
        <p:grpSp>
          <p:nvGrpSpPr>
            <p:cNvPr id="5" name="Gruppe 22">
              <a:extLst>
                <a:ext uri="{FF2B5EF4-FFF2-40B4-BE49-F238E27FC236}">
                  <a16:creationId xmlns:a16="http://schemas.microsoft.com/office/drawing/2014/main" id="{1DF51360-0985-4F01-AD2E-26237FDC004D}"/>
                </a:ext>
              </a:extLst>
            </p:cNvPr>
            <p:cNvGrpSpPr/>
            <p:nvPr/>
          </p:nvGrpSpPr>
          <p:grpSpPr>
            <a:xfrm>
              <a:off x="1455145" y="1125538"/>
              <a:ext cx="1503038" cy="1452758"/>
              <a:chOff x="3611922" y="1367566"/>
              <a:chExt cx="1295583" cy="1295583"/>
            </a:xfrm>
          </p:grpSpPr>
          <p:sp>
            <p:nvSpPr>
              <p:cNvPr id="6" name="Ellipse 26">
                <a:extLst>
                  <a:ext uri="{FF2B5EF4-FFF2-40B4-BE49-F238E27FC236}">
                    <a16:creationId xmlns:a16="http://schemas.microsoft.com/office/drawing/2014/main" id="{91061FEB-E2BE-4ABC-85C6-7AD8C589E1C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11922" y="1367566"/>
                <a:ext cx="1295583" cy="1295583"/>
              </a:xfrm>
              <a:prstGeom prst="ellipse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7" name="Tekstfelt 8">
                <a:extLst>
                  <a:ext uri="{FF2B5EF4-FFF2-40B4-BE49-F238E27FC236}">
                    <a16:creationId xmlns:a16="http://schemas.microsoft.com/office/drawing/2014/main" id="{2E062DE9-58A1-491A-AC5D-8FA80CB8AF78}"/>
                  </a:ext>
                </a:extLst>
              </p:cNvPr>
              <p:cNvSpPr txBox="1"/>
              <p:nvPr/>
            </p:nvSpPr>
            <p:spPr>
              <a:xfrm>
                <a:off x="3683589" y="1867092"/>
                <a:ext cx="1152248" cy="20585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5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Miljø</a:t>
                </a:r>
                <a:r>
                  <a:rPr lang="da-DK" sz="1500" b="1">
                    <a:solidFill>
                      <a:schemeClr val="bg1"/>
                    </a:solidFill>
                    <a:latin typeface="Arial Black" panose="020B0604020202020204" pitchFamily="34" charset="0"/>
                    <a:cs typeface="Arial Black" panose="020B0604020202020204" pitchFamily="34" charset="0"/>
                  </a:rPr>
                  <a:t> </a:t>
                </a:r>
              </a:p>
            </p:txBody>
          </p:sp>
        </p:grpSp>
        <p:grpSp>
          <p:nvGrpSpPr>
            <p:cNvPr id="8" name="Gruppe 22">
              <a:extLst>
                <a:ext uri="{FF2B5EF4-FFF2-40B4-BE49-F238E27FC236}">
                  <a16:creationId xmlns:a16="http://schemas.microsoft.com/office/drawing/2014/main" id="{570DB418-16C5-489E-BDFA-81B80D6C0F5C}"/>
                </a:ext>
              </a:extLst>
            </p:cNvPr>
            <p:cNvGrpSpPr/>
            <p:nvPr/>
          </p:nvGrpSpPr>
          <p:grpSpPr>
            <a:xfrm>
              <a:off x="3631629" y="3045628"/>
              <a:ext cx="1503038" cy="1452758"/>
              <a:chOff x="3611922" y="1367566"/>
              <a:chExt cx="1295583" cy="1295583"/>
            </a:xfrm>
          </p:grpSpPr>
          <p:sp>
            <p:nvSpPr>
              <p:cNvPr id="9" name="Ellipse 26">
                <a:extLst>
                  <a:ext uri="{FF2B5EF4-FFF2-40B4-BE49-F238E27FC236}">
                    <a16:creationId xmlns:a16="http://schemas.microsoft.com/office/drawing/2014/main" id="{C97F54EC-A4CB-428F-9255-98310431A69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11922" y="1367566"/>
                <a:ext cx="1295583" cy="1295583"/>
              </a:xfrm>
              <a:prstGeom prst="ellipse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10" name="Tekstfelt 8">
                <a:extLst>
                  <a:ext uri="{FF2B5EF4-FFF2-40B4-BE49-F238E27FC236}">
                    <a16:creationId xmlns:a16="http://schemas.microsoft.com/office/drawing/2014/main" id="{55C73264-761D-488C-AC03-75FE33B4B3EF}"/>
                  </a:ext>
                </a:extLst>
              </p:cNvPr>
              <p:cNvSpPr txBox="1"/>
              <p:nvPr/>
            </p:nvSpPr>
            <p:spPr>
              <a:xfrm>
                <a:off x="3683589" y="1867092"/>
                <a:ext cx="1152248" cy="2195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6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Økonomi</a:t>
                </a:r>
                <a:endParaRPr lang="da-DK" sz="2400" b="1">
                  <a:solidFill>
                    <a:schemeClr val="bg1"/>
                  </a:solidFill>
                  <a:latin typeface="Arial Black" panose="020B0604020202020204" pitchFamily="34" charset="0"/>
                  <a:cs typeface="Arial Black" panose="020B0604020202020204" pitchFamily="34" charset="0"/>
                </a:endParaRPr>
              </a:p>
            </p:txBody>
          </p:sp>
        </p:grpSp>
        <p:grpSp>
          <p:nvGrpSpPr>
            <p:cNvPr id="11" name="Gruppe 22">
              <a:extLst>
                <a:ext uri="{FF2B5EF4-FFF2-40B4-BE49-F238E27FC236}">
                  <a16:creationId xmlns:a16="http://schemas.microsoft.com/office/drawing/2014/main" id="{D676B2BE-E1DC-4A75-A759-74E8F39E50E6}"/>
                </a:ext>
              </a:extLst>
            </p:cNvPr>
            <p:cNvGrpSpPr/>
            <p:nvPr/>
          </p:nvGrpSpPr>
          <p:grpSpPr>
            <a:xfrm>
              <a:off x="5723488" y="1123289"/>
              <a:ext cx="1503038" cy="1452758"/>
              <a:chOff x="3611922" y="1367566"/>
              <a:chExt cx="1295583" cy="1295583"/>
            </a:xfrm>
          </p:grpSpPr>
          <p:sp>
            <p:nvSpPr>
              <p:cNvPr id="12" name="Ellipse 26">
                <a:extLst>
                  <a:ext uri="{FF2B5EF4-FFF2-40B4-BE49-F238E27FC236}">
                    <a16:creationId xmlns:a16="http://schemas.microsoft.com/office/drawing/2014/main" id="{09EFC3CC-66E0-4285-9D05-76DE5CE3172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11922" y="1367566"/>
                <a:ext cx="1295583" cy="1295583"/>
              </a:xfrm>
              <a:prstGeom prst="ellipse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13" name="Tekstfelt 8">
                <a:extLst>
                  <a:ext uri="{FF2B5EF4-FFF2-40B4-BE49-F238E27FC236}">
                    <a16:creationId xmlns:a16="http://schemas.microsoft.com/office/drawing/2014/main" id="{B79AE7AC-0DB8-4DE1-AAB5-A79997F16660}"/>
                  </a:ext>
                </a:extLst>
              </p:cNvPr>
              <p:cNvSpPr txBox="1"/>
              <p:nvPr/>
            </p:nvSpPr>
            <p:spPr>
              <a:xfrm>
                <a:off x="3683589" y="1867092"/>
                <a:ext cx="1152248" cy="2195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6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Social</a:t>
                </a:r>
                <a:endParaRPr lang="da-DK" sz="2400" b="1">
                  <a:solidFill>
                    <a:schemeClr val="bg1"/>
                  </a:solidFill>
                  <a:latin typeface="Arial Black" panose="020B0604020202020204" pitchFamily="34" charset="0"/>
                  <a:cs typeface="Arial Black" panose="020B0604020202020204" pitchFamily="34" charset="0"/>
                </a:endParaRPr>
              </a:p>
            </p:txBody>
          </p:sp>
        </p:grpSp>
        <p:grpSp>
          <p:nvGrpSpPr>
            <p:cNvPr id="14" name="Gruppe 29">
              <a:extLst>
                <a:ext uri="{FF2B5EF4-FFF2-40B4-BE49-F238E27FC236}">
                  <a16:creationId xmlns:a16="http://schemas.microsoft.com/office/drawing/2014/main" id="{CD05608B-EB2B-43AC-8398-D6B90787750E}"/>
                </a:ext>
              </a:extLst>
            </p:cNvPr>
            <p:cNvGrpSpPr/>
            <p:nvPr/>
          </p:nvGrpSpPr>
          <p:grpSpPr>
            <a:xfrm>
              <a:off x="240938" y="1473182"/>
              <a:ext cx="726969" cy="765537"/>
              <a:chOff x="3611922" y="1367566"/>
              <a:chExt cx="1295583" cy="1295583"/>
            </a:xfrm>
          </p:grpSpPr>
          <p:sp>
            <p:nvSpPr>
              <p:cNvPr id="15" name="Ellipse 30">
                <a:extLst>
                  <a:ext uri="{FF2B5EF4-FFF2-40B4-BE49-F238E27FC236}">
                    <a16:creationId xmlns:a16="http://schemas.microsoft.com/office/drawing/2014/main" id="{9E098738-42D3-481C-9E09-6D254D391AF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11922" y="1367566"/>
                <a:ext cx="1295583" cy="1295583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16" name="Tekstfelt 31">
                <a:extLst>
                  <a:ext uri="{FF2B5EF4-FFF2-40B4-BE49-F238E27FC236}">
                    <a16:creationId xmlns:a16="http://schemas.microsoft.com/office/drawing/2014/main" id="{17DB8F78-55C7-44B8-9680-6D332FB29780}"/>
                  </a:ext>
                </a:extLst>
              </p:cNvPr>
              <p:cNvSpPr txBox="1"/>
              <p:nvPr/>
            </p:nvSpPr>
            <p:spPr>
              <a:xfrm>
                <a:off x="3683588" y="1807005"/>
                <a:ext cx="1152247" cy="416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6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LCA</a:t>
                </a:r>
              </a:p>
            </p:txBody>
          </p:sp>
        </p:grpSp>
        <p:grpSp>
          <p:nvGrpSpPr>
            <p:cNvPr id="23" name="Gruppe 29">
              <a:extLst>
                <a:ext uri="{FF2B5EF4-FFF2-40B4-BE49-F238E27FC236}">
                  <a16:creationId xmlns:a16="http://schemas.microsoft.com/office/drawing/2014/main" id="{21D8E5C0-2239-4D0D-AEB9-8DB198DDF628}"/>
                </a:ext>
              </a:extLst>
            </p:cNvPr>
            <p:cNvGrpSpPr/>
            <p:nvPr/>
          </p:nvGrpSpPr>
          <p:grpSpPr>
            <a:xfrm>
              <a:off x="2629248" y="4412103"/>
              <a:ext cx="726969" cy="765537"/>
              <a:chOff x="3611922" y="1367566"/>
              <a:chExt cx="1295583" cy="1295583"/>
            </a:xfrm>
          </p:grpSpPr>
          <p:sp>
            <p:nvSpPr>
              <p:cNvPr id="24" name="Ellipse 30">
                <a:extLst>
                  <a:ext uri="{FF2B5EF4-FFF2-40B4-BE49-F238E27FC236}">
                    <a16:creationId xmlns:a16="http://schemas.microsoft.com/office/drawing/2014/main" id="{C8321A1C-5200-4A2F-BEB0-2EAB0948B9F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11922" y="1367566"/>
                <a:ext cx="1295583" cy="1295583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25" name="Tekstfelt 31">
                <a:extLst>
                  <a:ext uri="{FF2B5EF4-FFF2-40B4-BE49-F238E27FC236}">
                    <a16:creationId xmlns:a16="http://schemas.microsoft.com/office/drawing/2014/main" id="{24A50A03-FD49-4758-82D0-B824DF10009F}"/>
                  </a:ext>
                </a:extLst>
              </p:cNvPr>
              <p:cNvSpPr txBox="1"/>
              <p:nvPr/>
            </p:nvSpPr>
            <p:spPr>
              <a:xfrm>
                <a:off x="3683588" y="1807005"/>
                <a:ext cx="1152247" cy="416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6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WTP</a:t>
                </a:r>
              </a:p>
            </p:txBody>
          </p:sp>
        </p:grpSp>
        <p:grpSp>
          <p:nvGrpSpPr>
            <p:cNvPr id="26" name="Gruppe 29">
              <a:extLst>
                <a:ext uri="{FF2B5EF4-FFF2-40B4-BE49-F238E27FC236}">
                  <a16:creationId xmlns:a16="http://schemas.microsoft.com/office/drawing/2014/main" id="{6F7B2407-CAE3-49C8-9AA3-75BFBB6C8BE7}"/>
                </a:ext>
              </a:extLst>
            </p:cNvPr>
            <p:cNvGrpSpPr/>
            <p:nvPr/>
          </p:nvGrpSpPr>
          <p:grpSpPr>
            <a:xfrm>
              <a:off x="3423445" y="4922632"/>
              <a:ext cx="922690" cy="892352"/>
              <a:chOff x="3397302" y="1367566"/>
              <a:chExt cx="1644392" cy="1510203"/>
            </a:xfrm>
          </p:grpSpPr>
          <p:sp>
            <p:nvSpPr>
              <p:cNvPr id="27" name="Ellipse 30">
                <a:extLst>
                  <a:ext uri="{FF2B5EF4-FFF2-40B4-BE49-F238E27FC236}">
                    <a16:creationId xmlns:a16="http://schemas.microsoft.com/office/drawing/2014/main" id="{DC767FFE-052B-45E9-8D73-05D8A888218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97302" y="1367566"/>
                <a:ext cx="1644392" cy="1510203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28" name="Tekstfelt 31">
                <a:extLst>
                  <a:ext uri="{FF2B5EF4-FFF2-40B4-BE49-F238E27FC236}">
                    <a16:creationId xmlns:a16="http://schemas.microsoft.com/office/drawing/2014/main" id="{504FF3AD-4286-4D3C-92A8-506F0FB1AFC8}"/>
                  </a:ext>
                </a:extLst>
              </p:cNvPr>
              <p:cNvSpPr txBox="1"/>
              <p:nvPr/>
            </p:nvSpPr>
            <p:spPr>
              <a:xfrm>
                <a:off x="3500638" y="1807005"/>
                <a:ext cx="1335197" cy="54691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05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Forretnings-model</a:t>
                </a:r>
              </a:p>
            </p:txBody>
          </p:sp>
        </p:grpSp>
        <p:grpSp>
          <p:nvGrpSpPr>
            <p:cNvPr id="29" name="Gruppe 29">
              <a:extLst>
                <a:ext uri="{FF2B5EF4-FFF2-40B4-BE49-F238E27FC236}">
                  <a16:creationId xmlns:a16="http://schemas.microsoft.com/office/drawing/2014/main" id="{6931F621-4418-44FA-8AEE-8F3172C55943}"/>
                </a:ext>
              </a:extLst>
            </p:cNvPr>
            <p:cNvGrpSpPr/>
            <p:nvPr/>
          </p:nvGrpSpPr>
          <p:grpSpPr>
            <a:xfrm>
              <a:off x="4478604" y="4922632"/>
              <a:ext cx="726969" cy="765537"/>
              <a:chOff x="3611922" y="1367566"/>
              <a:chExt cx="1295583" cy="1295583"/>
            </a:xfrm>
          </p:grpSpPr>
          <p:sp>
            <p:nvSpPr>
              <p:cNvPr id="30" name="Ellipse 30">
                <a:extLst>
                  <a:ext uri="{FF2B5EF4-FFF2-40B4-BE49-F238E27FC236}">
                    <a16:creationId xmlns:a16="http://schemas.microsoft.com/office/drawing/2014/main" id="{E854B7B5-BE0C-43C9-8A7F-3E58818A16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11922" y="1367566"/>
                <a:ext cx="1295583" cy="1295583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31" name="Tekstfelt 31">
                <a:extLst>
                  <a:ext uri="{FF2B5EF4-FFF2-40B4-BE49-F238E27FC236}">
                    <a16:creationId xmlns:a16="http://schemas.microsoft.com/office/drawing/2014/main" id="{AE74A978-E511-4EF8-9E88-E5437D87E4C9}"/>
                  </a:ext>
                </a:extLst>
              </p:cNvPr>
              <p:cNvSpPr txBox="1"/>
              <p:nvPr/>
            </p:nvSpPr>
            <p:spPr>
              <a:xfrm>
                <a:off x="3683588" y="1807005"/>
                <a:ext cx="1152247" cy="41670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6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ETS</a:t>
                </a:r>
              </a:p>
            </p:txBody>
          </p:sp>
        </p:grpSp>
        <p:grpSp>
          <p:nvGrpSpPr>
            <p:cNvPr id="32" name="Gruppe 29">
              <a:extLst>
                <a:ext uri="{FF2B5EF4-FFF2-40B4-BE49-F238E27FC236}">
                  <a16:creationId xmlns:a16="http://schemas.microsoft.com/office/drawing/2014/main" id="{7CF6DB8E-AF73-4AD8-BEF8-0230CF56744C}"/>
                </a:ext>
              </a:extLst>
            </p:cNvPr>
            <p:cNvGrpSpPr/>
            <p:nvPr/>
          </p:nvGrpSpPr>
          <p:grpSpPr>
            <a:xfrm>
              <a:off x="5185467" y="4412103"/>
              <a:ext cx="726969" cy="765537"/>
              <a:chOff x="3611922" y="1367566"/>
              <a:chExt cx="1295583" cy="1295583"/>
            </a:xfrm>
          </p:grpSpPr>
          <p:sp>
            <p:nvSpPr>
              <p:cNvPr id="33" name="Ellipse 30">
                <a:extLst>
                  <a:ext uri="{FF2B5EF4-FFF2-40B4-BE49-F238E27FC236}">
                    <a16:creationId xmlns:a16="http://schemas.microsoft.com/office/drawing/2014/main" id="{FD8987E3-CB2E-4397-A304-B57A27E5460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11922" y="1367566"/>
                <a:ext cx="1295583" cy="1295583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34" name="Tekstfelt 31">
                <a:extLst>
                  <a:ext uri="{FF2B5EF4-FFF2-40B4-BE49-F238E27FC236}">
                    <a16:creationId xmlns:a16="http://schemas.microsoft.com/office/drawing/2014/main" id="{014D1794-28F8-4EA2-8BD1-9029CCADE78A}"/>
                  </a:ext>
                </a:extLst>
              </p:cNvPr>
              <p:cNvSpPr txBox="1"/>
              <p:nvPr/>
            </p:nvSpPr>
            <p:spPr>
              <a:xfrm>
                <a:off x="3839238" y="1742526"/>
                <a:ext cx="996597" cy="62505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2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CO</a:t>
                </a:r>
                <a:r>
                  <a:rPr lang="da-DK" sz="1200" b="1" baseline="-25000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2</a:t>
                </a:r>
                <a:r>
                  <a:rPr lang="da-DK" sz="12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-skat</a:t>
                </a:r>
              </a:p>
            </p:txBody>
          </p:sp>
        </p:grpSp>
        <p:grpSp>
          <p:nvGrpSpPr>
            <p:cNvPr id="38" name="Gruppe 29">
              <a:extLst>
                <a:ext uri="{FF2B5EF4-FFF2-40B4-BE49-F238E27FC236}">
                  <a16:creationId xmlns:a16="http://schemas.microsoft.com/office/drawing/2014/main" id="{7464D0F2-72A8-45FD-934E-9AE9F08DF1AB}"/>
                </a:ext>
              </a:extLst>
            </p:cNvPr>
            <p:cNvGrpSpPr/>
            <p:nvPr/>
          </p:nvGrpSpPr>
          <p:grpSpPr>
            <a:xfrm>
              <a:off x="7689730" y="1467144"/>
              <a:ext cx="726969" cy="765537"/>
              <a:chOff x="3611922" y="1367566"/>
              <a:chExt cx="1295583" cy="1295583"/>
            </a:xfrm>
          </p:grpSpPr>
          <p:sp>
            <p:nvSpPr>
              <p:cNvPr id="39" name="Ellipse 30">
                <a:extLst>
                  <a:ext uri="{FF2B5EF4-FFF2-40B4-BE49-F238E27FC236}">
                    <a16:creationId xmlns:a16="http://schemas.microsoft.com/office/drawing/2014/main" id="{0547F9AF-6702-4981-A2E2-0217ACCAF28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11922" y="1367566"/>
                <a:ext cx="1295583" cy="1295583"/>
              </a:xfrm>
              <a:prstGeom prst="ellipse">
                <a:avLst/>
              </a:prstGeom>
              <a:solidFill>
                <a:schemeClr val="tx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600"/>
              </a:p>
            </p:txBody>
          </p:sp>
          <p:sp>
            <p:nvSpPr>
              <p:cNvPr id="40" name="Tekstfelt 31">
                <a:extLst>
                  <a:ext uri="{FF2B5EF4-FFF2-40B4-BE49-F238E27FC236}">
                    <a16:creationId xmlns:a16="http://schemas.microsoft.com/office/drawing/2014/main" id="{BE4B15FB-32D3-4194-BACB-8F90304C6884}"/>
                  </a:ext>
                </a:extLst>
              </p:cNvPr>
              <p:cNvSpPr txBox="1"/>
              <p:nvPr/>
            </p:nvSpPr>
            <p:spPr>
              <a:xfrm>
                <a:off x="3683588" y="1892520"/>
                <a:ext cx="1152247" cy="2474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950" b="1">
                    <a:solidFill>
                      <a:schemeClr val="bg1"/>
                    </a:solidFill>
                    <a:cs typeface="Arial Black" panose="020B0604020202020204" pitchFamily="34" charset="0"/>
                  </a:rPr>
                  <a:t>Omdømme</a:t>
                </a: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22FAC48D-B232-451C-9E97-8303E134A587}"/>
                </a:ext>
              </a:extLst>
            </p:cNvPr>
            <p:cNvGrpSpPr/>
            <p:nvPr/>
          </p:nvGrpSpPr>
          <p:grpSpPr>
            <a:xfrm>
              <a:off x="3456598" y="964837"/>
              <a:ext cx="1856419" cy="1770282"/>
              <a:chOff x="4946590" y="1229409"/>
              <a:chExt cx="1856419" cy="1770282"/>
            </a:xfrm>
          </p:grpSpPr>
          <p:sp>
            <p:nvSpPr>
              <p:cNvPr id="4" name="Oval 3">
                <a:extLst>
                  <a:ext uri="{FF2B5EF4-FFF2-40B4-BE49-F238E27FC236}">
                    <a16:creationId xmlns:a16="http://schemas.microsoft.com/office/drawing/2014/main" id="{CE59EDCC-727B-4770-AC79-B94633AAD5B4}"/>
                  </a:ext>
                </a:extLst>
              </p:cNvPr>
              <p:cNvSpPr/>
              <p:nvPr/>
            </p:nvSpPr>
            <p:spPr>
              <a:xfrm>
                <a:off x="4946590" y="1229409"/>
                <a:ext cx="1856419" cy="1770282"/>
              </a:xfrm>
              <a:prstGeom prst="ellips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 b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Tekstfelt 31">
                <a:extLst>
                  <a:ext uri="{FF2B5EF4-FFF2-40B4-BE49-F238E27FC236}">
                    <a16:creationId xmlns:a16="http://schemas.microsoft.com/office/drawing/2014/main" id="{713E2CB1-B814-49D1-B94C-DCD8E3516ACF}"/>
                  </a:ext>
                </a:extLst>
              </p:cNvPr>
              <p:cNvSpPr txBox="1"/>
              <p:nvPr/>
            </p:nvSpPr>
            <p:spPr>
              <a:xfrm flipH="1">
                <a:off x="5121620" y="1590560"/>
                <a:ext cx="1508263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da-DK" sz="1600" b="1">
                    <a:solidFill>
                      <a:schemeClr val="bg1"/>
                    </a:solidFill>
                    <a:latin typeface="+mj-lt"/>
                    <a:cs typeface="Arial Black" panose="020B0604020202020204" pitchFamily="34" charset="0"/>
                  </a:rPr>
                  <a:t>Analysis faktorer der har betydning for CCUS</a:t>
                </a:r>
              </a:p>
            </p:txBody>
          </p:sp>
        </p:grp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3C15439-2DBF-4C95-855F-88BE756438FD}"/>
                </a:ext>
              </a:extLst>
            </p:cNvPr>
            <p:cNvSpPr/>
            <p:nvPr/>
          </p:nvSpPr>
          <p:spPr>
            <a:xfrm rot="8298687">
              <a:off x="4307853" y="4489769"/>
              <a:ext cx="1781727" cy="1137486"/>
            </a:xfrm>
            <a:prstGeom prst="ellipse">
              <a:avLst/>
            </a:prstGeom>
            <a:noFill/>
            <a:ln>
              <a:solidFill>
                <a:schemeClr val="accent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600"/>
            </a:p>
          </p:txBody>
        </p:sp>
        <p:sp>
          <p:nvSpPr>
            <p:cNvPr id="48" name="Tekstfelt 31">
              <a:extLst>
                <a:ext uri="{FF2B5EF4-FFF2-40B4-BE49-F238E27FC236}">
                  <a16:creationId xmlns:a16="http://schemas.microsoft.com/office/drawing/2014/main" id="{13A60DA4-0DB4-4F19-B51C-3EF2B640CB7B}"/>
                </a:ext>
              </a:extLst>
            </p:cNvPr>
            <p:cNvSpPr txBox="1"/>
            <p:nvPr/>
          </p:nvSpPr>
          <p:spPr>
            <a:xfrm>
              <a:off x="5761550" y="4252792"/>
              <a:ext cx="109201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000" b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 Black" panose="020B0604020202020204" pitchFamily="34" charset="0"/>
                </a:rPr>
                <a:t>Lovgivning</a:t>
              </a:r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FA5899AF-8CDC-4657-8A52-26DEBBA3A052}"/>
                </a:ext>
              </a:extLst>
            </p:cNvPr>
            <p:cNvCxnSpPr>
              <a:cxnSpLocks/>
              <a:stCxn id="4" idx="2"/>
              <a:endCxn id="6" idx="6"/>
            </p:cNvCxnSpPr>
            <p:nvPr/>
          </p:nvCxnSpPr>
          <p:spPr>
            <a:xfrm flipH="1">
              <a:off x="2958183" y="1849978"/>
              <a:ext cx="498415" cy="193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8351DB42-DDEC-41DB-8955-C62961892F1D}"/>
                </a:ext>
              </a:extLst>
            </p:cNvPr>
            <p:cNvCxnSpPr>
              <a:cxnSpLocks/>
              <a:stCxn id="4" idx="6"/>
              <a:endCxn id="12" idx="2"/>
            </p:cNvCxnSpPr>
            <p:nvPr/>
          </p:nvCxnSpPr>
          <p:spPr>
            <a:xfrm flipV="1">
              <a:off x="5313017" y="1849668"/>
              <a:ext cx="410471" cy="310"/>
            </a:xfrm>
            <a:prstGeom prst="straightConnector1">
              <a:avLst/>
            </a:prstGeom>
            <a:ln w="317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>
              <a:extLst>
                <a:ext uri="{FF2B5EF4-FFF2-40B4-BE49-F238E27FC236}">
                  <a16:creationId xmlns:a16="http://schemas.microsoft.com/office/drawing/2014/main" id="{F2E4FAF8-4F2D-4D40-9324-F2D8B76308A0}"/>
                </a:ext>
              </a:extLst>
            </p:cNvPr>
            <p:cNvCxnSpPr>
              <a:stCxn id="4" idx="4"/>
              <a:endCxn id="9" idx="0"/>
            </p:cNvCxnSpPr>
            <p:nvPr/>
          </p:nvCxnSpPr>
          <p:spPr>
            <a:xfrm flipH="1">
              <a:off x="4383148" y="2735119"/>
              <a:ext cx="1660" cy="310509"/>
            </a:xfrm>
            <a:prstGeom prst="straightConnector1">
              <a:avLst/>
            </a:prstGeom>
            <a:ln w="317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72F57564-DA54-4796-BFEB-A50E60385AED}"/>
                </a:ext>
              </a:extLst>
            </p:cNvPr>
            <p:cNvCxnSpPr>
              <a:cxnSpLocks/>
              <a:stCxn id="6" idx="2"/>
              <a:endCxn id="15" idx="6"/>
            </p:cNvCxnSpPr>
            <p:nvPr/>
          </p:nvCxnSpPr>
          <p:spPr>
            <a:xfrm flipH="1">
              <a:off x="967907" y="1851917"/>
              <a:ext cx="487238" cy="403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8" name="Straight Arrow Connector 67">
              <a:extLst>
                <a:ext uri="{FF2B5EF4-FFF2-40B4-BE49-F238E27FC236}">
                  <a16:creationId xmlns:a16="http://schemas.microsoft.com/office/drawing/2014/main" id="{5B8C111D-5306-40F6-B450-2A863A05EC74}"/>
                </a:ext>
              </a:extLst>
            </p:cNvPr>
            <p:cNvCxnSpPr>
              <a:cxnSpLocks/>
              <a:endCxn id="24" idx="7"/>
            </p:cNvCxnSpPr>
            <p:nvPr/>
          </p:nvCxnSpPr>
          <p:spPr>
            <a:xfrm flipH="1">
              <a:off x="3249755" y="4229388"/>
              <a:ext cx="337039" cy="29482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23BEAA54-8A1B-42CF-8B31-A3287C1609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73192" y="4524213"/>
              <a:ext cx="111261" cy="39841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4A832A5F-19D0-4AFB-B522-F9EA001C7632}"/>
                </a:ext>
              </a:extLst>
            </p:cNvPr>
            <p:cNvCxnSpPr>
              <a:cxnSpLocks/>
            </p:cNvCxnSpPr>
            <p:nvPr/>
          </p:nvCxnSpPr>
          <p:spPr>
            <a:xfrm>
              <a:off x="4675947" y="4535071"/>
              <a:ext cx="87440" cy="38291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4" name="Straight Arrow Connector 73">
              <a:extLst>
                <a:ext uri="{FF2B5EF4-FFF2-40B4-BE49-F238E27FC236}">
                  <a16:creationId xmlns:a16="http://schemas.microsoft.com/office/drawing/2014/main" id="{7BE34F32-EEC4-4843-8515-0F4012E77907}"/>
                </a:ext>
              </a:extLst>
            </p:cNvPr>
            <p:cNvCxnSpPr>
              <a:cxnSpLocks/>
              <a:endCxn id="33" idx="1"/>
            </p:cNvCxnSpPr>
            <p:nvPr/>
          </p:nvCxnSpPr>
          <p:spPr>
            <a:xfrm>
              <a:off x="5052642" y="4167034"/>
              <a:ext cx="239287" cy="35717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3" name="Straight Arrow Connector 82">
              <a:extLst>
                <a:ext uri="{FF2B5EF4-FFF2-40B4-BE49-F238E27FC236}">
                  <a16:creationId xmlns:a16="http://schemas.microsoft.com/office/drawing/2014/main" id="{BBF6FE55-C916-4DF2-810D-BA6410E3AAB8}"/>
                </a:ext>
              </a:extLst>
            </p:cNvPr>
            <p:cNvCxnSpPr>
              <a:stCxn id="12" idx="6"/>
              <a:endCxn id="39" idx="2"/>
            </p:cNvCxnSpPr>
            <p:nvPr/>
          </p:nvCxnSpPr>
          <p:spPr>
            <a:xfrm>
              <a:off x="7226526" y="1849668"/>
              <a:ext cx="463204" cy="24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3" name="Tekstfelt 31">
              <a:extLst>
                <a:ext uri="{FF2B5EF4-FFF2-40B4-BE49-F238E27FC236}">
                  <a16:creationId xmlns:a16="http://schemas.microsoft.com/office/drawing/2014/main" id="{65736160-5E5D-4487-A8C9-86A61C99A7D5}"/>
                </a:ext>
              </a:extLst>
            </p:cNvPr>
            <p:cNvSpPr txBox="1"/>
            <p:nvPr/>
          </p:nvSpPr>
          <p:spPr>
            <a:xfrm>
              <a:off x="2264206" y="5440774"/>
              <a:ext cx="109201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da-DK" sz="1000" b="1">
                  <a:solidFill>
                    <a:schemeClr val="accent5">
                      <a:lumMod val="75000"/>
                    </a:schemeClr>
                  </a:solidFill>
                  <a:latin typeface="+mj-lt"/>
                  <a:cs typeface="Arial Black" panose="020B0604020202020204" pitchFamily="34" charset="0"/>
                </a:rPr>
                <a:t>Industriel symbiose</a:t>
              </a:r>
            </a:p>
          </p:txBody>
        </p:sp>
        <p:cxnSp>
          <p:nvCxnSpPr>
            <p:cNvPr id="97" name="Connector: Curved 96">
              <a:extLst>
                <a:ext uri="{FF2B5EF4-FFF2-40B4-BE49-F238E27FC236}">
                  <a16:creationId xmlns:a16="http://schemas.microsoft.com/office/drawing/2014/main" id="{5B2BED2E-EE79-4386-A6A1-40BDD51471F7}"/>
                </a:ext>
              </a:extLst>
            </p:cNvPr>
            <p:cNvCxnSpPr>
              <a:cxnSpLocks/>
              <a:stCxn id="27" idx="2"/>
              <a:endCxn id="93" idx="0"/>
            </p:cNvCxnSpPr>
            <p:nvPr/>
          </p:nvCxnSpPr>
          <p:spPr>
            <a:xfrm rot="10800000" flipV="1">
              <a:off x="2810213" y="5368808"/>
              <a:ext cx="613233" cy="71966"/>
            </a:xfrm>
            <a:prstGeom prst="curvedConnector2">
              <a:avLst/>
            </a:prstGeom>
            <a:ln w="3175">
              <a:solidFill>
                <a:schemeClr val="accent1"/>
              </a:solidFill>
              <a:prstDash val="lgDash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kstfelt 31">
            <a:extLst>
              <a:ext uri="{FF2B5EF4-FFF2-40B4-BE49-F238E27FC236}">
                <a16:creationId xmlns:a16="http://schemas.microsoft.com/office/drawing/2014/main" id="{6A2A0BCB-DCDF-4654-8334-C0A6C4B72F63}"/>
              </a:ext>
            </a:extLst>
          </p:cNvPr>
          <p:cNvSpPr txBox="1"/>
          <p:nvPr/>
        </p:nvSpPr>
        <p:spPr>
          <a:xfrm>
            <a:off x="4982116" y="4489374"/>
            <a:ext cx="12859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1000" b="1">
                <a:solidFill>
                  <a:schemeClr val="accent5">
                    <a:lumMod val="75000"/>
                  </a:schemeClr>
                </a:solidFill>
                <a:latin typeface="+mj-lt"/>
                <a:cs typeface="Arial Black" panose="020B0604020202020204" pitchFamily="34" charset="0"/>
              </a:rPr>
              <a:t>Betalingsvillighed</a:t>
            </a:r>
          </a:p>
        </p:txBody>
      </p:sp>
    </p:spTree>
    <p:extLst>
      <p:ext uri="{BB962C8B-B14F-4D97-AF65-F5344CB8AC3E}">
        <p14:creationId xmlns:p14="http://schemas.microsoft.com/office/powerpoint/2010/main" val="89999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BCC6AB-652E-4D9C-A256-E51A60979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Næste skridt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F28C4B6-9B36-4E9C-AB6F-7BE22FEFBF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b="1" dirty="0"/>
              <a:t>Udvikling af muligheder</a:t>
            </a:r>
          </a:p>
          <a:p>
            <a:r>
              <a:rPr lang="da-DK" dirty="0"/>
              <a:t>Arbejder på afklaring ift. forudsætninger for en rentabel business cases</a:t>
            </a:r>
          </a:p>
          <a:p>
            <a:r>
              <a:rPr lang="da-DK" dirty="0"/>
              <a:t>Nyt projekt med et pilotanlæg</a:t>
            </a:r>
          </a:p>
          <a:p>
            <a:r>
              <a:rPr lang="da-DK" dirty="0"/>
              <a:t>Afsøger konsortium- og hub-muligheder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b="1" dirty="0"/>
              <a:t>Afklaring om politiske rammer</a:t>
            </a:r>
          </a:p>
          <a:p>
            <a:r>
              <a:rPr lang="da-DK" dirty="0"/>
              <a:t>Strategi for CCUS/PtX</a:t>
            </a:r>
          </a:p>
          <a:p>
            <a:pPr lvl="1"/>
            <a:r>
              <a:rPr lang="da-DK" dirty="0"/>
              <a:t>Infrastruktur herunder tryksætning, rørledning, udskibning mv.</a:t>
            </a:r>
          </a:p>
          <a:p>
            <a:pPr lvl="1"/>
            <a:r>
              <a:rPr lang="da-DK" dirty="0"/>
              <a:t>Muligheder ift. statsstøtte og statsstøtte-regler jfr. Norge og Holland</a:t>
            </a:r>
          </a:p>
          <a:p>
            <a:pPr lvl="1"/>
            <a:r>
              <a:rPr lang="da-DK" dirty="0"/>
              <a:t>Konkret </a:t>
            </a:r>
            <a:r>
              <a:rPr lang="da-DK" dirty="0" err="1"/>
              <a:t>subsidie</a:t>
            </a:r>
            <a:r>
              <a:rPr lang="da-DK" dirty="0"/>
              <a:t>-model jfr. klimaaftalen fra juni (16 mia. over 20 år)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1B16EC9-36C4-4991-A2FE-2B7590D40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4931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E7B1D3-1925-4480-82EB-AEF1522EF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0130" y="2252868"/>
            <a:ext cx="8530433" cy="2676939"/>
          </a:xfrm>
        </p:spPr>
        <p:txBody>
          <a:bodyPr anchor="t"/>
          <a:lstStyle/>
          <a:p>
            <a:pPr>
              <a:lnSpc>
                <a:spcPct val="100000"/>
              </a:lnSpc>
            </a:pPr>
            <a:r>
              <a:rPr lang="en-GB" sz="1800" b="1" dirty="0"/>
              <a:t>Jesper Sand Damtoft</a:t>
            </a:r>
            <a:br>
              <a:rPr lang="en-GB" sz="1800" dirty="0"/>
            </a:br>
            <a:r>
              <a:rPr lang="en-GB" sz="1800" dirty="0"/>
              <a:t>Group Sustainability and R&amp;D Director</a:t>
            </a:r>
            <a:br>
              <a:rPr lang="en-GB" sz="1800" dirty="0"/>
            </a:br>
            <a:r>
              <a:rPr lang="en-GB" sz="1800" dirty="0"/>
              <a:t>Cementir Holding</a:t>
            </a:r>
            <a:br>
              <a:rPr lang="en-GB" sz="1800" dirty="0"/>
            </a:br>
            <a:r>
              <a:rPr lang="en-GB" sz="1800" dirty="0"/>
              <a:t>Research and Quality Centre</a:t>
            </a:r>
            <a:br>
              <a:rPr lang="en-GB" sz="1800" dirty="0"/>
            </a:br>
            <a:r>
              <a:rPr lang="en-GB" sz="1800" dirty="0"/>
              <a:t>Sølystvej 18</a:t>
            </a:r>
            <a:br>
              <a:rPr lang="en-GB" sz="1800" dirty="0"/>
            </a:br>
            <a:r>
              <a:rPr lang="en-GB" sz="1800" dirty="0"/>
              <a:t>9220 Aalborg Ø</a:t>
            </a:r>
            <a:br>
              <a:rPr lang="en-GB" sz="1800" dirty="0"/>
            </a:br>
            <a:r>
              <a:rPr lang="en-GB" sz="1800" dirty="0"/>
              <a:t>Denmark</a:t>
            </a:r>
            <a:br>
              <a:rPr lang="en-GB" sz="1800" dirty="0"/>
            </a:br>
            <a:r>
              <a:rPr lang="en-GB" sz="1800" dirty="0"/>
              <a:t>Phone: +45 4018 1121</a:t>
            </a:r>
            <a:br>
              <a:rPr lang="en-GB" sz="1800" dirty="0"/>
            </a:br>
            <a:r>
              <a:rPr lang="en-GB" sz="1800" dirty="0"/>
              <a:t>E-mail: jesper.damtoft@cementirholding.i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7B42C4-7EDC-4AED-8203-284D88809A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139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FF94D0-05B0-4DF8-9E49-74D5DCA61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0CC12EE-4515-428F-9B88-AC0B505A93B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000"/>
            <a:ext cx="12192000" cy="6876000"/>
          </a:xfrm>
          <a:prstGeom prst="rect">
            <a:avLst/>
          </a:prstGeom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E320E358-79DC-4C5E-8B17-B21A709591E2}"/>
              </a:ext>
            </a:extLst>
          </p:cNvPr>
          <p:cNvSpPr txBox="1">
            <a:spLocks noChangeArrowheads="1"/>
          </p:cNvSpPr>
          <p:nvPr/>
        </p:nvSpPr>
        <p:spPr>
          <a:xfrm>
            <a:off x="8753519" y="6191791"/>
            <a:ext cx="3438481" cy="384373"/>
          </a:xfrm>
          <a:prstGeom prst="rect">
            <a:avLst/>
          </a:prstGeom>
          <a:noFill/>
          <a:ln/>
        </p:spPr>
        <p:txBody>
          <a:bodyPr/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bg1"/>
                </a:solidFill>
              </a:rPr>
              <a:t>Aalborg Portlan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3239640-0074-4F8E-B3A1-BDB204E2302C}"/>
              </a:ext>
            </a:extLst>
          </p:cNvPr>
          <p:cNvSpPr txBox="1">
            <a:spLocks/>
          </p:cNvSpPr>
          <p:nvPr/>
        </p:nvSpPr>
        <p:spPr bwMode="auto">
          <a:xfrm>
            <a:off x="87946" y="3718832"/>
            <a:ext cx="4355074" cy="30508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square" lIns="72000" tIns="72000" rIns="72000" bIns="72000" numCol="1" anchor="b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846" b="1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defRPr>
            </a:lvl1pPr>
            <a:lvl2pPr marL="422041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662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844083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477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1266124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292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1688165" indent="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292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2110207" indent="0" algn="l" rtl="0" fontAlgn="base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292">
                <a:solidFill>
                  <a:schemeClr val="tx1"/>
                </a:solidFill>
                <a:latin typeface="+mn-lt"/>
                <a:ea typeface="+mn-ea"/>
              </a:defRPr>
            </a:lvl6pPr>
            <a:lvl7pPr marL="2532248" indent="0" algn="l" rtl="0" fontAlgn="base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292">
                <a:solidFill>
                  <a:schemeClr val="tx1"/>
                </a:solidFill>
                <a:latin typeface="+mn-lt"/>
                <a:ea typeface="+mn-ea"/>
              </a:defRPr>
            </a:lvl7pPr>
            <a:lvl8pPr marL="2954289" indent="0" algn="l" rtl="0" fontAlgn="base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292">
                <a:solidFill>
                  <a:schemeClr val="tx1"/>
                </a:solidFill>
                <a:latin typeface="+mn-lt"/>
                <a:ea typeface="+mn-ea"/>
              </a:defRPr>
            </a:lvl8pPr>
            <a:lvl9pPr marL="3376331" indent="0" algn="l" rtl="0" fontAlgn="base">
              <a:spcBef>
                <a:spcPct val="20000"/>
              </a:spcBef>
              <a:spcAft>
                <a:spcPct val="0"/>
              </a:spcAft>
              <a:buClr>
                <a:srgbClr val="800040"/>
              </a:buClr>
              <a:buNone/>
              <a:defRPr sz="1292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da-DK" sz="1600" kern="0" dirty="0">
                <a:solidFill>
                  <a:schemeClr val="tx2"/>
                </a:solidFill>
              </a:rPr>
              <a:t>2020</a:t>
            </a:r>
          </a:p>
          <a:p>
            <a:r>
              <a:rPr lang="da-DK" sz="1600" kern="0" dirty="0">
                <a:solidFill>
                  <a:schemeClr val="tx2"/>
                </a:solidFill>
              </a:rPr>
              <a:t>Grå cement: 1.681.000 tons</a:t>
            </a:r>
          </a:p>
          <a:p>
            <a:pPr lvl="1"/>
            <a:r>
              <a:rPr lang="da-DK" sz="1600" kern="0" dirty="0">
                <a:solidFill>
                  <a:schemeClr val="tx2"/>
                </a:solidFill>
              </a:rPr>
              <a:t>Danmark: 1.413.000 tons (84%)</a:t>
            </a:r>
          </a:p>
          <a:p>
            <a:pPr lvl="1"/>
            <a:r>
              <a:rPr lang="da-DK" sz="1600" kern="0" dirty="0">
                <a:solidFill>
                  <a:schemeClr val="tx2"/>
                </a:solidFill>
              </a:rPr>
              <a:t>Eksport: 268.000 tons (16%)</a:t>
            </a:r>
          </a:p>
          <a:p>
            <a:r>
              <a:rPr lang="da-DK" sz="1600" kern="0" dirty="0">
                <a:solidFill>
                  <a:schemeClr val="tx2"/>
                </a:solidFill>
              </a:rPr>
              <a:t>Hvid cement: 779.000 tons</a:t>
            </a:r>
          </a:p>
          <a:p>
            <a:pPr lvl="1"/>
            <a:r>
              <a:rPr lang="da-DK" sz="1600" kern="0" dirty="0">
                <a:solidFill>
                  <a:schemeClr val="tx2"/>
                </a:solidFill>
              </a:rPr>
              <a:t>Danmark: 74.000 tons (9%)</a:t>
            </a:r>
          </a:p>
          <a:p>
            <a:pPr lvl="1"/>
            <a:r>
              <a:rPr lang="da-DK" sz="1600" kern="0" dirty="0">
                <a:solidFill>
                  <a:schemeClr val="tx2"/>
                </a:solidFill>
              </a:rPr>
              <a:t>Eksport: 705.000 tons (91%)</a:t>
            </a:r>
          </a:p>
          <a:p>
            <a:pPr marL="707791" lvl="1" indent="-285750">
              <a:buFontTx/>
              <a:buChar char="-"/>
            </a:pPr>
            <a:r>
              <a:rPr lang="da-DK" sz="1600" kern="0" dirty="0">
                <a:solidFill>
                  <a:schemeClr val="tx2"/>
                </a:solidFill>
              </a:rPr>
              <a:t>158.000 tons ud af EU og EØS</a:t>
            </a:r>
          </a:p>
          <a:p>
            <a:pPr marL="707791" lvl="1" indent="-285750">
              <a:buFontTx/>
              <a:buChar char="-"/>
            </a:pPr>
            <a:r>
              <a:rPr lang="da-DK" sz="1600" kern="0" dirty="0">
                <a:solidFill>
                  <a:schemeClr val="tx2"/>
                </a:solidFill>
              </a:rPr>
              <a:t>91.000 tons til UK</a:t>
            </a:r>
          </a:p>
          <a:p>
            <a:r>
              <a:rPr lang="da-DK" sz="1600" kern="0" dirty="0">
                <a:solidFill>
                  <a:schemeClr val="tx2"/>
                </a:solidFill>
              </a:rPr>
              <a:t>Omsætning: 2.0 mia. DKK (266 </a:t>
            </a:r>
            <a:r>
              <a:rPr lang="da-DK" sz="1600" kern="0" dirty="0" err="1">
                <a:solidFill>
                  <a:schemeClr val="tx2"/>
                </a:solidFill>
              </a:rPr>
              <a:t>mill</a:t>
            </a:r>
            <a:r>
              <a:rPr lang="da-DK" sz="1600" kern="0" dirty="0">
                <a:solidFill>
                  <a:schemeClr val="tx2"/>
                </a:solidFill>
              </a:rPr>
              <a:t>. EUR)</a:t>
            </a:r>
          </a:p>
        </p:txBody>
      </p:sp>
    </p:spTree>
    <p:extLst>
      <p:ext uri="{BB962C8B-B14F-4D97-AF65-F5344CB8AC3E}">
        <p14:creationId xmlns:p14="http://schemas.microsoft.com/office/powerpoint/2010/main" val="163825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B8448E-F065-4F9F-A895-5B1530A03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orbruget af cement er steget kraftigt på verdensplan. 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E5F9E2DF-CC62-4437-8D2E-E4EAD96CC6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260900"/>
              </p:ext>
            </p:extLst>
          </p:nvPr>
        </p:nvGraphicFramePr>
        <p:xfrm>
          <a:off x="358776" y="924156"/>
          <a:ext cx="8972550" cy="513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E33D868-685D-4F57-AFB6-1BE026625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E05AEA-A810-472E-9C1B-A16219275ADE}"/>
              </a:ext>
            </a:extLst>
          </p:cNvPr>
          <p:cNvSpPr txBox="1"/>
          <p:nvPr/>
        </p:nvSpPr>
        <p:spPr>
          <a:xfrm>
            <a:off x="8370523" y="4619855"/>
            <a:ext cx="3392390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2"/>
                </a:solidFill>
              </a:rPr>
              <a:t>Cementforbruget i Europa er faldet siden 1990 og forventes at være stabilt indtil 2050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chemeClr val="tx2"/>
                </a:solidFill>
              </a:rPr>
              <a:t>Vækst drives af udviklingslandene</a:t>
            </a:r>
            <a:endParaRPr lang="en-GB" sz="16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64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1B9CC3-555D-46D6-A4D1-010B32C56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4690" y="360001"/>
            <a:ext cx="5736947" cy="765537"/>
          </a:xfrm>
        </p:spPr>
        <p:txBody>
          <a:bodyPr/>
          <a:lstStyle/>
          <a:p>
            <a:r>
              <a:rPr lang="da-DK" dirty="0"/>
              <a:t>Begrænsede muligheder for at bruge andre materialer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DECF66E-9B87-453C-BE42-335610EE7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C565BFBD-E0C9-47D7-BB1E-ADF9E189C6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641" y="197727"/>
            <a:ext cx="5734050" cy="5848350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60A6A4D2-AFA2-4140-B4CF-C63685CBDDF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9715"/>
          <a:stretch/>
        </p:blipFill>
        <p:spPr>
          <a:xfrm>
            <a:off x="6404800" y="4130332"/>
            <a:ext cx="3506282" cy="655200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59132B47-B511-4AB3-A6A0-924780774DC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098"/>
          <a:stretch/>
        </p:blipFill>
        <p:spPr>
          <a:xfrm>
            <a:off x="6404800" y="5011531"/>
            <a:ext cx="5116729" cy="65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519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695D2C58-A593-471A-AC28-07A8DF4B0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028" y="134711"/>
            <a:ext cx="11472862" cy="765537"/>
          </a:xfrm>
        </p:spPr>
        <p:txBody>
          <a:bodyPr anchor="ctr">
            <a:normAutofit/>
          </a:bodyPr>
          <a:lstStyle/>
          <a:p>
            <a:r>
              <a:rPr lang="da-DK" dirty="0"/>
              <a:t>CO</a:t>
            </a:r>
            <a:r>
              <a:rPr lang="da-DK" baseline="-25000" dirty="0"/>
              <a:t>2 </a:t>
            </a:r>
            <a:r>
              <a:rPr lang="da-DK" dirty="0"/>
              <a:t>og cemen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377B7ED-D72D-4C3D-8006-0DB3D51158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6" y="1304925"/>
            <a:ext cx="5320572" cy="4668838"/>
          </a:xfrm>
        </p:spPr>
        <p:txBody>
          <a:bodyPr/>
          <a:lstStyle/>
          <a:p>
            <a:pPr marL="0" indent="0">
              <a:buNone/>
            </a:pPr>
            <a:r>
              <a:rPr lang="da-DK" b="1" dirty="0"/>
              <a:t>CO</a:t>
            </a:r>
            <a:r>
              <a:rPr lang="da-DK" b="1" baseline="-25000" dirty="0"/>
              <a:t>2</a:t>
            </a:r>
            <a:r>
              <a:rPr lang="da-DK" b="1" dirty="0"/>
              <a:t>-udledning i forbindelse med brug og produktion af cement i Danmark</a:t>
            </a:r>
          </a:p>
          <a:p>
            <a:endParaRPr lang="da-DK" sz="600" b="1" dirty="0"/>
          </a:p>
          <a:p>
            <a:r>
              <a:rPr lang="da-DK" b="1" dirty="0"/>
              <a:t>Fra brug af cement: 1,3 millioner tons</a:t>
            </a:r>
          </a:p>
          <a:p>
            <a:r>
              <a:rPr lang="da-DK" b="1" dirty="0"/>
              <a:t>Fra produktion af cement: 2,3 millioner ton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1B2974B-9F1A-44A1-80D1-55BACA9CD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11. oktober 2018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E9475E-9F38-4D8E-B835-78F150ADA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5</a:t>
            </a:fld>
            <a:endParaRPr lang="en-GB" dirty="0"/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A4D3CF1D-9DF3-4AB2-829F-588ED982D1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3919034"/>
              </p:ext>
            </p:extLst>
          </p:nvPr>
        </p:nvGraphicFramePr>
        <p:xfrm>
          <a:off x="5863143" y="982738"/>
          <a:ext cx="5412517" cy="4852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2F4D08FA-E2A8-47A5-B911-608A91903063}"/>
              </a:ext>
            </a:extLst>
          </p:cNvPr>
          <p:cNvSpPr txBox="1"/>
          <p:nvPr/>
        </p:nvSpPr>
        <p:spPr>
          <a:xfrm>
            <a:off x="248086" y="4234763"/>
            <a:ext cx="4990501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da-DK" sz="1600" b="1" dirty="0">
                <a:solidFill>
                  <a:schemeClr val="accent3">
                    <a:lumMod val="75000"/>
                  </a:schemeClr>
                </a:solidFill>
              </a:rPr>
              <a:t>CO</a:t>
            </a:r>
            <a:r>
              <a:rPr lang="da-DK" sz="1600" b="1" baseline="-25000" dirty="0">
                <a:solidFill>
                  <a:schemeClr val="accent3">
                    <a:lumMod val="75000"/>
                  </a:schemeClr>
                </a:solidFill>
              </a:rPr>
              <a:t>2</a:t>
            </a:r>
            <a:r>
              <a:rPr lang="da-DK" sz="1600" b="1" dirty="0">
                <a:solidFill>
                  <a:schemeClr val="accent3">
                    <a:lumMod val="75000"/>
                  </a:schemeClr>
                </a:solidFill>
              </a:rPr>
              <a:t> kan mest effektivt reduceres ved brug af brændsler med indhold af biomasse. Kan tilføres ved brug af brændbart affald som brændsel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AC299C73-4E7B-4C7E-AA81-8B703544E4EA}"/>
              </a:ext>
            </a:extLst>
          </p:cNvPr>
          <p:cNvCxnSpPr>
            <a:cxnSpLocks/>
            <a:stCxn id="18" idx="3"/>
          </p:cNvCxnSpPr>
          <p:nvPr/>
        </p:nvCxnSpPr>
        <p:spPr>
          <a:xfrm flipV="1">
            <a:off x="5238587" y="3335383"/>
            <a:ext cx="1850190" cy="1314879"/>
          </a:xfrm>
          <a:prstGeom prst="straightConnector1">
            <a:avLst/>
          </a:prstGeom>
          <a:ln w="57150">
            <a:solidFill>
              <a:schemeClr val="accent3">
                <a:lumMod val="75000"/>
              </a:schemeClr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BB8769B-C902-4D71-A2CF-588D550A53D3}"/>
              </a:ext>
            </a:extLst>
          </p:cNvPr>
          <p:cNvSpPr txBox="1"/>
          <p:nvPr/>
        </p:nvSpPr>
        <p:spPr>
          <a:xfrm>
            <a:off x="248086" y="5220669"/>
            <a:ext cx="49905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b="1" dirty="0">
                <a:solidFill>
                  <a:srgbClr val="0070C0"/>
                </a:solidFill>
              </a:rPr>
              <a:t>Kridt nedbrydes til brændt kalk og CO</a:t>
            </a:r>
            <a:r>
              <a:rPr lang="da-DK" sz="1600" b="1" baseline="-25000" dirty="0">
                <a:solidFill>
                  <a:srgbClr val="0070C0"/>
                </a:solidFill>
              </a:rPr>
              <a:t>2</a:t>
            </a:r>
            <a:r>
              <a:rPr lang="da-DK" sz="1600" b="1" dirty="0">
                <a:solidFill>
                  <a:srgbClr val="0070C0"/>
                </a:solidFill>
              </a:rPr>
              <a:t>. Ingen reelle muligheder for at begrænse udledning pr. tons klinker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FC406E1F-0D1F-4217-AE4E-C7FF2C0FF2C4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5238586" y="5065760"/>
            <a:ext cx="1850191" cy="570408"/>
          </a:xfrm>
          <a:prstGeom prst="straightConnector1">
            <a:avLst/>
          </a:prstGeom>
          <a:ln w="57150">
            <a:solidFill>
              <a:srgbClr val="0070C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025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18" grpId="0"/>
      <p:bldP spid="2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04B5C14-F140-424C-B8C8-EA70A3AB0B36}"/>
              </a:ext>
            </a:extLst>
          </p:cNvPr>
          <p:cNvGraphicFramePr/>
          <p:nvPr/>
        </p:nvGraphicFramePr>
        <p:xfrm>
          <a:off x="2544614" y="642601"/>
          <a:ext cx="7735539" cy="5157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8" name="Lige forbindelse 30">
            <a:extLst>
              <a:ext uri="{FF2B5EF4-FFF2-40B4-BE49-F238E27FC236}">
                <a16:creationId xmlns:a16="http://schemas.microsoft.com/office/drawing/2014/main" id="{3ADCE53E-CB12-41FE-80AD-FA287274A909}"/>
              </a:ext>
            </a:extLst>
          </p:cNvPr>
          <p:cNvCxnSpPr/>
          <p:nvPr/>
        </p:nvCxnSpPr>
        <p:spPr>
          <a:xfrm>
            <a:off x="2918870" y="3308660"/>
            <a:ext cx="1248937" cy="0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C3B17843-63C0-5441-A287-0A3C25DB487D}"/>
              </a:ext>
            </a:extLst>
          </p:cNvPr>
          <p:cNvCxnSpPr/>
          <p:nvPr/>
        </p:nvCxnSpPr>
        <p:spPr>
          <a:xfrm>
            <a:off x="8720543" y="3358308"/>
            <a:ext cx="1248937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7681A73-FABB-0147-A5F0-00037C619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9" name="Grafik 8" descr="Ild">
            <a:extLst>
              <a:ext uri="{FF2B5EF4-FFF2-40B4-BE49-F238E27FC236}">
                <a16:creationId xmlns:a16="http://schemas.microsoft.com/office/drawing/2014/main" id="{D333ED6A-A41B-FF43-B1A9-416D17A712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77587" y="2343828"/>
            <a:ext cx="1481270" cy="1481270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30660788-A366-044D-9D66-E80DE2C1AFF5}"/>
              </a:ext>
            </a:extLst>
          </p:cNvPr>
          <p:cNvSpPr txBox="1"/>
          <p:nvPr/>
        </p:nvSpPr>
        <p:spPr>
          <a:xfrm>
            <a:off x="9514140" y="3948098"/>
            <a:ext cx="22498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b="1" dirty="0">
                <a:solidFill>
                  <a:schemeClr val="tx2"/>
                </a:solidFill>
              </a:rPr>
              <a:t>Brændsler</a:t>
            </a:r>
            <a:endParaRPr lang="da-DK" sz="1600" dirty="0">
              <a:solidFill>
                <a:schemeClr val="tx2"/>
              </a:solidFill>
            </a:endParaRP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B2B303CA-797A-2C4C-A030-270A99506C3E}"/>
              </a:ext>
            </a:extLst>
          </p:cNvPr>
          <p:cNvSpPr txBox="1"/>
          <p:nvPr/>
        </p:nvSpPr>
        <p:spPr>
          <a:xfrm>
            <a:off x="8252008" y="3221114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50%</a:t>
            </a:r>
          </a:p>
        </p:txBody>
      </p:sp>
      <p:sp>
        <p:nvSpPr>
          <p:cNvPr id="20" name="Tekstfelt 19">
            <a:extLst>
              <a:ext uri="{FF2B5EF4-FFF2-40B4-BE49-F238E27FC236}">
                <a16:creationId xmlns:a16="http://schemas.microsoft.com/office/drawing/2014/main" id="{0979E0F0-17A9-A740-AA4E-043A1D85FD21}"/>
              </a:ext>
            </a:extLst>
          </p:cNvPr>
          <p:cNvSpPr txBox="1"/>
          <p:nvPr/>
        </p:nvSpPr>
        <p:spPr>
          <a:xfrm>
            <a:off x="3997263" y="3205975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50%</a:t>
            </a:r>
          </a:p>
        </p:txBody>
      </p:sp>
      <p:pic>
        <p:nvPicPr>
          <p:cNvPr id="14" name="Grafik 6" descr="Kolbe">
            <a:extLst>
              <a:ext uri="{FF2B5EF4-FFF2-40B4-BE49-F238E27FC236}">
                <a16:creationId xmlns:a16="http://schemas.microsoft.com/office/drawing/2014/main" id="{B3A80A4E-3BBF-414F-9F02-CB98E35174D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17872" y="2088191"/>
            <a:ext cx="1860685" cy="1860685"/>
          </a:xfrm>
          <a:prstGeom prst="rect">
            <a:avLst/>
          </a:prstGeom>
        </p:spPr>
      </p:pic>
      <p:sp>
        <p:nvSpPr>
          <p:cNvPr id="13" name="Tekstfelt 18">
            <a:extLst>
              <a:ext uri="{FF2B5EF4-FFF2-40B4-BE49-F238E27FC236}">
                <a16:creationId xmlns:a16="http://schemas.microsoft.com/office/drawing/2014/main" id="{79053426-C301-42C6-8BEC-5DB842727D04}"/>
              </a:ext>
            </a:extLst>
          </p:cNvPr>
          <p:cNvSpPr txBox="1"/>
          <p:nvPr/>
        </p:nvSpPr>
        <p:spPr>
          <a:xfrm>
            <a:off x="1430290" y="3966661"/>
            <a:ext cx="22860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b="1" dirty="0">
                <a:solidFill>
                  <a:schemeClr val="tx2"/>
                </a:solidFill>
              </a:rPr>
              <a:t>Proces</a:t>
            </a:r>
            <a:endParaRPr lang="da-DK" sz="1600" dirty="0">
              <a:solidFill>
                <a:schemeClr val="tx2"/>
              </a:solidFill>
            </a:endParaRPr>
          </a:p>
        </p:txBody>
      </p:sp>
      <p:sp>
        <p:nvSpPr>
          <p:cNvPr id="19" name="Pladsholder til indhold 2">
            <a:extLst>
              <a:ext uri="{FF2B5EF4-FFF2-40B4-BE49-F238E27FC236}">
                <a16:creationId xmlns:a16="http://schemas.microsoft.com/office/drawing/2014/main" id="{34E508CE-0CAE-4645-92E8-C7D204AF7998}"/>
              </a:ext>
            </a:extLst>
          </p:cNvPr>
          <p:cNvSpPr txBox="1">
            <a:spLocks/>
          </p:cNvSpPr>
          <p:nvPr/>
        </p:nvSpPr>
        <p:spPr>
          <a:xfrm>
            <a:off x="859211" y="4378561"/>
            <a:ext cx="3138052" cy="10565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15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28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5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0" algn="ctr">
              <a:buNone/>
            </a:pPr>
            <a:r>
              <a:rPr lang="da-DK" sz="1600" dirty="0">
                <a:solidFill>
                  <a:schemeClr val="tx2"/>
                </a:solidFill>
              </a:rPr>
              <a:t>CO</a:t>
            </a:r>
            <a:r>
              <a:rPr lang="da-DK" sz="1600" baseline="-25000" dirty="0">
                <a:solidFill>
                  <a:schemeClr val="tx2"/>
                </a:solidFill>
              </a:rPr>
              <a:t>2</a:t>
            </a:r>
            <a:r>
              <a:rPr lang="da-DK" sz="1600" dirty="0">
                <a:solidFill>
                  <a:schemeClr val="tx2"/>
                </a:solidFill>
              </a:rPr>
              <a:t> fra kridt</a:t>
            </a:r>
          </a:p>
        </p:txBody>
      </p:sp>
      <p:sp>
        <p:nvSpPr>
          <p:cNvPr id="21" name="Pladsholder til indhold 2">
            <a:extLst>
              <a:ext uri="{FF2B5EF4-FFF2-40B4-BE49-F238E27FC236}">
                <a16:creationId xmlns:a16="http://schemas.microsoft.com/office/drawing/2014/main" id="{76A26E82-1039-41EC-8C44-DEEEE37A14B9}"/>
              </a:ext>
            </a:extLst>
          </p:cNvPr>
          <p:cNvSpPr txBox="1">
            <a:spLocks/>
          </p:cNvSpPr>
          <p:nvPr/>
        </p:nvSpPr>
        <p:spPr>
          <a:xfrm>
            <a:off x="9299401" y="4383851"/>
            <a:ext cx="2666155" cy="765537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15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28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5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0" algn="ctr">
              <a:buFont typeface="Arial" panose="020B0604020202020204" pitchFamily="34" charset="0"/>
              <a:buNone/>
            </a:pPr>
            <a:r>
              <a:rPr lang="da-DK" sz="1600" dirty="0">
                <a:solidFill>
                  <a:schemeClr val="tx2"/>
                </a:solidFill>
              </a:rPr>
              <a:t>Elektrificering er ikke mulig på grund af de høje temperaturer</a:t>
            </a: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C73AC48F-ACC1-42F7-934A-31CC6F63F2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5" y="291963"/>
            <a:ext cx="11405165" cy="2051865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da-DK"/>
              <a:t>CO</a:t>
            </a:r>
            <a:r>
              <a:rPr lang="da-DK" baseline="-25000"/>
              <a:t>2</a:t>
            </a:r>
            <a:r>
              <a:rPr lang="da-DK"/>
              <a:t>-reduktion fra cementproduktionen</a:t>
            </a:r>
          </a:p>
        </p:txBody>
      </p:sp>
    </p:spTree>
    <p:extLst>
      <p:ext uri="{BB962C8B-B14F-4D97-AF65-F5344CB8AC3E}">
        <p14:creationId xmlns:p14="http://schemas.microsoft.com/office/powerpoint/2010/main" val="1138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1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C3B17843-63C0-5441-A287-0A3C25DB487D}"/>
              </a:ext>
            </a:extLst>
          </p:cNvPr>
          <p:cNvCxnSpPr/>
          <p:nvPr/>
        </p:nvCxnSpPr>
        <p:spPr>
          <a:xfrm>
            <a:off x="8719758" y="3366181"/>
            <a:ext cx="1248937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04B5C14-F140-424C-B8C8-EA70A3AB0B36}"/>
              </a:ext>
            </a:extLst>
          </p:cNvPr>
          <p:cNvGraphicFramePr/>
          <p:nvPr/>
        </p:nvGraphicFramePr>
        <p:xfrm>
          <a:off x="2548218" y="627462"/>
          <a:ext cx="7735539" cy="5157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E3FF8B62-9D4C-884E-B55C-8060762C6250}"/>
              </a:ext>
            </a:extLst>
          </p:cNvPr>
          <p:cNvGraphicFramePr/>
          <p:nvPr/>
        </p:nvGraphicFramePr>
        <p:xfrm>
          <a:off x="2548806" y="628453"/>
          <a:ext cx="7735539" cy="5157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A719FEE9-5566-6440-80F7-1E7D38B702DF}"/>
              </a:ext>
            </a:extLst>
          </p:cNvPr>
          <p:cNvGraphicFramePr/>
          <p:nvPr/>
        </p:nvGraphicFramePr>
        <p:xfrm>
          <a:off x="2544614" y="628453"/>
          <a:ext cx="7735539" cy="5157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7681A73-FABB-0147-A5F0-00037C619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9" name="Grafik 8" descr="Ild">
            <a:extLst>
              <a:ext uri="{FF2B5EF4-FFF2-40B4-BE49-F238E27FC236}">
                <a16:creationId xmlns:a16="http://schemas.microsoft.com/office/drawing/2014/main" id="{D333ED6A-A41B-FF43-B1A9-416D17A712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76802" y="2351701"/>
            <a:ext cx="1481270" cy="1481270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30660788-A366-044D-9D66-E80DE2C1AFF5}"/>
              </a:ext>
            </a:extLst>
          </p:cNvPr>
          <p:cNvSpPr txBox="1"/>
          <p:nvPr/>
        </p:nvSpPr>
        <p:spPr>
          <a:xfrm>
            <a:off x="9513355" y="3945907"/>
            <a:ext cx="22498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b="1" dirty="0">
                <a:solidFill>
                  <a:schemeClr val="tx2"/>
                </a:solidFill>
              </a:rPr>
              <a:t>Brændsl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EC731F6-C477-FA48-AF3C-B6BBCD1150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12992" y="4379889"/>
            <a:ext cx="2657389" cy="765537"/>
          </a:xfrm>
        </p:spPr>
        <p:txBody>
          <a:bodyPr/>
          <a:lstStyle/>
          <a:p>
            <a:pPr marL="180000" lvl="1" indent="0" algn="ctr">
              <a:buNone/>
            </a:pPr>
            <a:r>
              <a:rPr lang="da-DK" sz="1600" dirty="0"/>
              <a:t>Alternative brændsler med biomasse reducerer 20% af CO</a:t>
            </a:r>
            <a:r>
              <a:rPr lang="da-DK" sz="1600" baseline="-25000" dirty="0"/>
              <a:t>2</a:t>
            </a:r>
            <a:r>
              <a:rPr lang="da-DK" sz="1600" dirty="0"/>
              <a:t>-udledningerne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21C4E495-EADE-8F4F-BEE8-CC0F38E0B30C}"/>
              </a:ext>
            </a:extLst>
          </p:cNvPr>
          <p:cNvSpPr txBox="1"/>
          <p:nvPr/>
        </p:nvSpPr>
        <p:spPr>
          <a:xfrm>
            <a:off x="7481675" y="1400192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20%</a:t>
            </a:r>
          </a:p>
        </p:txBody>
      </p:sp>
      <p:sp>
        <p:nvSpPr>
          <p:cNvPr id="26" name="Pladsholder til indhold 2">
            <a:extLst>
              <a:ext uri="{FF2B5EF4-FFF2-40B4-BE49-F238E27FC236}">
                <a16:creationId xmlns:a16="http://schemas.microsoft.com/office/drawing/2014/main" id="{E362CFF7-5EB1-6848-ACAF-F97C5AE8EAC6}"/>
              </a:ext>
            </a:extLst>
          </p:cNvPr>
          <p:cNvSpPr txBox="1">
            <a:spLocks/>
          </p:cNvSpPr>
          <p:nvPr/>
        </p:nvSpPr>
        <p:spPr>
          <a:xfrm>
            <a:off x="1087884" y="4383851"/>
            <a:ext cx="2857080" cy="10565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15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28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5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0" algn="ctr">
              <a:buNone/>
            </a:pPr>
            <a:r>
              <a:rPr lang="da-DK" sz="1600" dirty="0">
                <a:solidFill>
                  <a:schemeClr val="tx2"/>
                </a:solidFill>
              </a:rPr>
              <a:t>Ny cementtyper reducerer CO</a:t>
            </a:r>
            <a:r>
              <a:rPr lang="da-DK" sz="1600" baseline="-25000" dirty="0">
                <a:solidFill>
                  <a:schemeClr val="tx2"/>
                </a:solidFill>
              </a:rPr>
              <a:t>2</a:t>
            </a:r>
            <a:r>
              <a:rPr lang="da-DK" sz="1600" dirty="0">
                <a:solidFill>
                  <a:schemeClr val="tx2"/>
                </a:solidFill>
              </a:rPr>
              <a:t>-udledningen med 10%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CFB1C1B1-1727-A540-BCF1-499796448928}"/>
              </a:ext>
            </a:extLst>
          </p:cNvPr>
          <p:cNvSpPr txBox="1"/>
          <p:nvPr/>
        </p:nvSpPr>
        <p:spPr>
          <a:xfrm>
            <a:off x="5459450" y="1083031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10%</a:t>
            </a:r>
          </a:p>
        </p:txBody>
      </p:sp>
      <p:grpSp>
        <p:nvGrpSpPr>
          <p:cNvPr id="36" name="Gruppe 35">
            <a:extLst>
              <a:ext uri="{FF2B5EF4-FFF2-40B4-BE49-F238E27FC236}">
                <a16:creationId xmlns:a16="http://schemas.microsoft.com/office/drawing/2014/main" id="{3A138492-EA6B-6C46-B3F3-CD69E9535E3E}"/>
              </a:ext>
            </a:extLst>
          </p:cNvPr>
          <p:cNvGrpSpPr/>
          <p:nvPr/>
        </p:nvGrpSpPr>
        <p:grpSpPr>
          <a:xfrm>
            <a:off x="9960755" y="2668581"/>
            <a:ext cx="1153418" cy="1151074"/>
            <a:chOff x="1992359" y="3325516"/>
            <a:chExt cx="1153418" cy="1151074"/>
          </a:xfrm>
        </p:grpSpPr>
        <p:cxnSp>
          <p:nvCxnSpPr>
            <p:cNvPr id="37" name="Lige forbindelse 36">
              <a:extLst>
                <a:ext uri="{FF2B5EF4-FFF2-40B4-BE49-F238E27FC236}">
                  <a16:creationId xmlns:a16="http://schemas.microsoft.com/office/drawing/2014/main" id="{848C585F-B297-6546-86E5-03916CC57CF0}"/>
                </a:ext>
              </a:extLst>
            </p:cNvPr>
            <p:cNvCxnSpPr>
              <a:cxnSpLocks/>
            </p:cNvCxnSpPr>
            <p:nvPr/>
          </p:nvCxnSpPr>
          <p:spPr>
            <a:xfrm>
              <a:off x="1992359" y="3325516"/>
              <a:ext cx="580932" cy="580932"/>
            </a:xfrm>
            <a:prstGeom prst="line">
              <a:avLst/>
            </a:prstGeom>
            <a:ln w="127000">
              <a:solidFill>
                <a:srgbClr val="82BA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Lige forbindelse 37">
              <a:extLst>
                <a:ext uri="{FF2B5EF4-FFF2-40B4-BE49-F238E27FC236}">
                  <a16:creationId xmlns:a16="http://schemas.microsoft.com/office/drawing/2014/main" id="{C0B8E961-5D3F-F543-BB7A-58BBC6FC5F85}"/>
                </a:ext>
              </a:extLst>
            </p:cNvPr>
            <p:cNvCxnSpPr>
              <a:cxnSpLocks/>
            </p:cNvCxnSpPr>
            <p:nvPr/>
          </p:nvCxnSpPr>
          <p:spPr>
            <a:xfrm>
              <a:off x="2647358" y="3965781"/>
              <a:ext cx="498419" cy="510809"/>
            </a:xfrm>
            <a:prstGeom prst="line">
              <a:avLst/>
            </a:prstGeom>
            <a:ln w="127000">
              <a:solidFill>
                <a:srgbClr val="82BA0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9" name="Grafik 6" descr="Kolbe">
            <a:extLst>
              <a:ext uri="{FF2B5EF4-FFF2-40B4-BE49-F238E27FC236}">
                <a16:creationId xmlns:a16="http://schemas.microsoft.com/office/drawing/2014/main" id="{308D2B80-37F9-4670-BD7E-28626BB9BCA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17872" y="2088191"/>
            <a:ext cx="1860685" cy="1860685"/>
          </a:xfrm>
          <a:prstGeom prst="rect">
            <a:avLst/>
          </a:prstGeom>
        </p:spPr>
      </p:pic>
      <p:sp>
        <p:nvSpPr>
          <p:cNvPr id="40" name="Tekstfelt 18">
            <a:extLst>
              <a:ext uri="{FF2B5EF4-FFF2-40B4-BE49-F238E27FC236}">
                <a16:creationId xmlns:a16="http://schemas.microsoft.com/office/drawing/2014/main" id="{8A5F61D6-D9C0-4962-99E1-214557B6E59D}"/>
              </a:ext>
            </a:extLst>
          </p:cNvPr>
          <p:cNvSpPr txBox="1"/>
          <p:nvPr/>
        </p:nvSpPr>
        <p:spPr>
          <a:xfrm>
            <a:off x="1430290" y="3966661"/>
            <a:ext cx="22860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b="1" dirty="0">
                <a:solidFill>
                  <a:schemeClr val="tx2"/>
                </a:solidFill>
              </a:rPr>
              <a:t>Proces</a:t>
            </a:r>
            <a:endParaRPr lang="da-DK" sz="1600" dirty="0">
              <a:solidFill>
                <a:schemeClr val="tx2"/>
              </a:solidFill>
            </a:endParaRPr>
          </a:p>
        </p:txBody>
      </p:sp>
      <p:grpSp>
        <p:nvGrpSpPr>
          <p:cNvPr id="41" name="Gruppe 13">
            <a:extLst>
              <a:ext uri="{FF2B5EF4-FFF2-40B4-BE49-F238E27FC236}">
                <a16:creationId xmlns:a16="http://schemas.microsoft.com/office/drawing/2014/main" id="{C3A57262-CC9D-4F8E-B060-8DBA95E34AEE}"/>
              </a:ext>
            </a:extLst>
          </p:cNvPr>
          <p:cNvGrpSpPr/>
          <p:nvPr/>
        </p:nvGrpSpPr>
        <p:grpSpPr>
          <a:xfrm>
            <a:off x="1992359" y="2686626"/>
            <a:ext cx="1153418" cy="1151074"/>
            <a:chOff x="1992359" y="3325516"/>
            <a:chExt cx="1153418" cy="1151074"/>
          </a:xfrm>
        </p:grpSpPr>
        <p:cxnSp>
          <p:nvCxnSpPr>
            <p:cNvPr id="42" name="Lige forbindelse 33">
              <a:extLst>
                <a:ext uri="{FF2B5EF4-FFF2-40B4-BE49-F238E27FC236}">
                  <a16:creationId xmlns:a16="http://schemas.microsoft.com/office/drawing/2014/main" id="{6D77738D-FCE0-4F36-B274-4EF49500EC88}"/>
                </a:ext>
              </a:extLst>
            </p:cNvPr>
            <p:cNvCxnSpPr>
              <a:cxnSpLocks/>
            </p:cNvCxnSpPr>
            <p:nvPr/>
          </p:nvCxnSpPr>
          <p:spPr>
            <a:xfrm>
              <a:off x="1992359" y="3325516"/>
              <a:ext cx="580932" cy="580932"/>
            </a:xfrm>
            <a:prstGeom prst="line">
              <a:avLst/>
            </a:prstGeom>
            <a:ln w="127000">
              <a:solidFill>
                <a:srgbClr val="82BA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ge forbindelse 34">
              <a:extLst>
                <a:ext uri="{FF2B5EF4-FFF2-40B4-BE49-F238E27FC236}">
                  <a16:creationId xmlns:a16="http://schemas.microsoft.com/office/drawing/2014/main" id="{2EFE9230-152A-494D-9272-FD94447D48BF}"/>
                </a:ext>
              </a:extLst>
            </p:cNvPr>
            <p:cNvCxnSpPr>
              <a:cxnSpLocks/>
            </p:cNvCxnSpPr>
            <p:nvPr/>
          </p:nvCxnSpPr>
          <p:spPr>
            <a:xfrm>
              <a:off x="2647358" y="3965781"/>
              <a:ext cx="498419" cy="510809"/>
            </a:xfrm>
            <a:prstGeom prst="line">
              <a:avLst/>
            </a:prstGeom>
            <a:ln w="127000">
              <a:solidFill>
                <a:srgbClr val="82BA0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Lige forbindelse 30">
            <a:extLst>
              <a:ext uri="{FF2B5EF4-FFF2-40B4-BE49-F238E27FC236}">
                <a16:creationId xmlns:a16="http://schemas.microsoft.com/office/drawing/2014/main" id="{2BD0544F-C12D-4B6F-B35C-1226F83A91E7}"/>
              </a:ext>
            </a:extLst>
          </p:cNvPr>
          <p:cNvCxnSpPr/>
          <p:nvPr/>
        </p:nvCxnSpPr>
        <p:spPr>
          <a:xfrm>
            <a:off x="2918870" y="3308660"/>
            <a:ext cx="1248937" cy="0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felt 16">
            <a:extLst>
              <a:ext uri="{FF2B5EF4-FFF2-40B4-BE49-F238E27FC236}">
                <a16:creationId xmlns:a16="http://schemas.microsoft.com/office/drawing/2014/main" id="{1FB34821-2134-47BB-B08F-F9B834DFB504}"/>
              </a:ext>
            </a:extLst>
          </p:cNvPr>
          <p:cNvSpPr txBox="1"/>
          <p:nvPr/>
        </p:nvSpPr>
        <p:spPr>
          <a:xfrm>
            <a:off x="8252008" y="3221114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50%</a:t>
            </a:r>
          </a:p>
        </p:txBody>
      </p:sp>
      <p:sp>
        <p:nvSpPr>
          <p:cNvPr id="29" name="Tekstfelt 19">
            <a:extLst>
              <a:ext uri="{FF2B5EF4-FFF2-40B4-BE49-F238E27FC236}">
                <a16:creationId xmlns:a16="http://schemas.microsoft.com/office/drawing/2014/main" id="{4797194B-64F9-428F-B1D6-A6143BEE0D37}"/>
              </a:ext>
            </a:extLst>
          </p:cNvPr>
          <p:cNvSpPr txBox="1"/>
          <p:nvPr/>
        </p:nvSpPr>
        <p:spPr>
          <a:xfrm>
            <a:off x="3997263" y="3205975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50%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43BF0E26-4AE7-48AB-9CEF-5E27B25B2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360001"/>
            <a:ext cx="11472862" cy="765537"/>
          </a:xfrm>
        </p:spPr>
        <p:txBody>
          <a:bodyPr/>
          <a:lstStyle/>
          <a:p>
            <a:r>
              <a:rPr lang="da-DK" dirty="0"/>
              <a:t>30% CO</a:t>
            </a:r>
            <a:r>
              <a:rPr lang="da-DK" baseline="-25000" dirty="0"/>
              <a:t>2 </a:t>
            </a:r>
            <a:r>
              <a:rPr lang="da-DK" dirty="0"/>
              <a:t>reduktion i 2030 </a:t>
            </a:r>
          </a:p>
        </p:txBody>
      </p:sp>
    </p:spTree>
    <p:extLst>
      <p:ext uri="{BB962C8B-B14F-4D97-AF65-F5344CB8AC3E}">
        <p14:creationId xmlns:p14="http://schemas.microsoft.com/office/powerpoint/2010/main" val="505940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" dur="2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>
        <p:bldAsOne/>
      </p:bldGraphic>
      <p:bldGraphic spid="25" grpId="0">
        <p:bldAsOne/>
      </p:bldGraphic>
      <p:bldP spid="3" grpId="0" build="p"/>
      <p:bldP spid="22" grpId="0"/>
      <p:bldP spid="26" grpId="0"/>
      <p:bldP spid="3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kstfelt 19">
            <a:extLst>
              <a:ext uri="{FF2B5EF4-FFF2-40B4-BE49-F238E27FC236}">
                <a16:creationId xmlns:a16="http://schemas.microsoft.com/office/drawing/2014/main" id="{B8A5F47A-08BA-404F-8EBE-77B1AD41EADC}"/>
              </a:ext>
            </a:extLst>
          </p:cNvPr>
          <p:cNvSpPr txBox="1"/>
          <p:nvPr/>
        </p:nvSpPr>
        <p:spPr>
          <a:xfrm>
            <a:off x="3997263" y="3205975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50%</a:t>
            </a:r>
          </a:p>
        </p:txBody>
      </p:sp>
      <p:cxnSp>
        <p:nvCxnSpPr>
          <p:cNvPr id="38" name="Lige forbindelse 30">
            <a:extLst>
              <a:ext uri="{FF2B5EF4-FFF2-40B4-BE49-F238E27FC236}">
                <a16:creationId xmlns:a16="http://schemas.microsoft.com/office/drawing/2014/main" id="{B2220D09-6A9F-411D-87C6-2E0F7DD96318}"/>
              </a:ext>
            </a:extLst>
          </p:cNvPr>
          <p:cNvCxnSpPr/>
          <p:nvPr/>
        </p:nvCxnSpPr>
        <p:spPr>
          <a:xfrm>
            <a:off x="2918870" y="3308660"/>
            <a:ext cx="1248937" cy="0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C3B17843-63C0-5441-A287-0A3C25DB487D}"/>
              </a:ext>
            </a:extLst>
          </p:cNvPr>
          <p:cNvCxnSpPr/>
          <p:nvPr/>
        </p:nvCxnSpPr>
        <p:spPr>
          <a:xfrm>
            <a:off x="8719758" y="3366181"/>
            <a:ext cx="1248937" cy="0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forbindelse 30">
            <a:extLst>
              <a:ext uri="{FF2B5EF4-FFF2-40B4-BE49-F238E27FC236}">
                <a16:creationId xmlns:a16="http://schemas.microsoft.com/office/drawing/2014/main" id="{351E5353-F807-9E41-AB05-E4EAD7B03A17}"/>
              </a:ext>
            </a:extLst>
          </p:cNvPr>
          <p:cNvCxnSpPr/>
          <p:nvPr/>
        </p:nvCxnSpPr>
        <p:spPr>
          <a:xfrm>
            <a:off x="2918870" y="3092604"/>
            <a:ext cx="1248937" cy="0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04B5C14-F140-424C-B8C8-EA70A3AB0B36}"/>
              </a:ext>
            </a:extLst>
          </p:cNvPr>
          <p:cNvGraphicFramePr/>
          <p:nvPr/>
        </p:nvGraphicFramePr>
        <p:xfrm>
          <a:off x="2548218" y="627462"/>
          <a:ext cx="7735539" cy="5157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E3FF8B62-9D4C-884E-B55C-8060762C6250}"/>
              </a:ext>
            </a:extLst>
          </p:cNvPr>
          <p:cNvGraphicFramePr/>
          <p:nvPr/>
        </p:nvGraphicFramePr>
        <p:xfrm>
          <a:off x="2549049" y="627462"/>
          <a:ext cx="7735539" cy="5157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Diagram 24">
            <a:extLst>
              <a:ext uri="{FF2B5EF4-FFF2-40B4-BE49-F238E27FC236}">
                <a16:creationId xmlns:a16="http://schemas.microsoft.com/office/drawing/2014/main" id="{A719FEE9-5566-6440-80F7-1E7D38B702DF}"/>
              </a:ext>
            </a:extLst>
          </p:cNvPr>
          <p:cNvGraphicFramePr/>
          <p:nvPr/>
        </p:nvGraphicFramePr>
        <p:xfrm>
          <a:off x="2546528" y="624833"/>
          <a:ext cx="7735539" cy="5157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7681A73-FABB-0147-A5F0-00037C619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9" name="Grafik 8" descr="Ild">
            <a:extLst>
              <a:ext uri="{FF2B5EF4-FFF2-40B4-BE49-F238E27FC236}">
                <a16:creationId xmlns:a16="http://schemas.microsoft.com/office/drawing/2014/main" id="{D333ED6A-A41B-FF43-B1A9-416D17A712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76802" y="2351701"/>
            <a:ext cx="1481270" cy="1481270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30660788-A366-044D-9D66-E80DE2C1AFF5}"/>
              </a:ext>
            </a:extLst>
          </p:cNvPr>
          <p:cNvSpPr txBox="1"/>
          <p:nvPr/>
        </p:nvSpPr>
        <p:spPr>
          <a:xfrm>
            <a:off x="9513355" y="3955971"/>
            <a:ext cx="22498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b="1" dirty="0">
                <a:solidFill>
                  <a:schemeClr val="tx2"/>
                </a:solidFill>
              </a:rPr>
              <a:t>Brændsler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B2B303CA-797A-2C4C-A030-270A99506C3E}"/>
              </a:ext>
            </a:extLst>
          </p:cNvPr>
          <p:cNvSpPr txBox="1"/>
          <p:nvPr/>
        </p:nvSpPr>
        <p:spPr>
          <a:xfrm>
            <a:off x="8017543" y="2070747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50%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EC731F6-C477-FA48-AF3C-B6BBCD1150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30949" y="4385182"/>
            <a:ext cx="2903571" cy="1457640"/>
          </a:xfrm>
        </p:spPr>
        <p:txBody>
          <a:bodyPr/>
          <a:lstStyle/>
          <a:p>
            <a:pPr marL="180000" lvl="1" indent="0" algn="ctr">
              <a:buNone/>
            </a:pPr>
            <a:r>
              <a:rPr lang="da-DK" sz="1600" dirty="0"/>
              <a:t>CO</a:t>
            </a:r>
            <a:r>
              <a:rPr lang="da-DK" baseline="-25000" dirty="0"/>
              <a:t>2</a:t>
            </a:r>
            <a:r>
              <a:rPr lang="da-DK" sz="1600" dirty="0"/>
              <a:t>-neutrale brændsler, f.eks. biogas kan yderligere reducere 40% af CO</a:t>
            </a:r>
            <a:r>
              <a:rPr lang="da-DK" sz="1600" baseline="-25000" dirty="0"/>
              <a:t>2</a:t>
            </a:r>
            <a:r>
              <a:rPr lang="da-DK" sz="1600" dirty="0"/>
              <a:t>-udledningerne</a:t>
            </a:r>
          </a:p>
        </p:txBody>
      </p:sp>
      <p:cxnSp>
        <p:nvCxnSpPr>
          <p:cNvPr id="21" name="Lige forbindelse 20">
            <a:extLst>
              <a:ext uri="{FF2B5EF4-FFF2-40B4-BE49-F238E27FC236}">
                <a16:creationId xmlns:a16="http://schemas.microsoft.com/office/drawing/2014/main" id="{C3CC20EB-E50F-3E4E-8EE8-832A4B996AA2}"/>
              </a:ext>
            </a:extLst>
          </p:cNvPr>
          <p:cNvCxnSpPr>
            <a:cxnSpLocks/>
          </p:cNvCxnSpPr>
          <p:nvPr/>
        </p:nvCxnSpPr>
        <p:spPr>
          <a:xfrm>
            <a:off x="9968695" y="2652398"/>
            <a:ext cx="1161863" cy="1161863"/>
          </a:xfrm>
          <a:prstGeom prst="line">
            <a:avLst/>
          </a:prstGeom>
          <a:ln w="127000">
            <a:solidFill>
              <a:srgbClr val="82BA0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kstfelt 21">
            <a:extLst>
              <a:ext uri="{FF2B5EF4-FFF2-40B4-BE49-F238E27FC236}">
                <a16:creationId xmlns:a16="http://schemas.microsoft.com/office/drawing/2014/main" id="{21C4E495-EADE-8F4F-BEE8-CC0F38E0B30C}"/>
              </a:ext>
            </a:extLst>
          </p:cNvPr>
          <p:cNvSpPr txBox="1"/>
          <p:nvPr/>
        </p:nvSpPr>
        <p:spPr>
          <a:xfrm>
            <a:off x="8015882" y="2070747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latin typeface="Arial Black" panose="020B0604020202020204" pitchFamily="34" charset="0"/>
                <a:cs typeface="Arial Black" panose="020B0604020202020204" pitchFamily="34" charset="0"/>
              </a:rPr>
              <a:t>40%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CFB1C1B1-1727-A540-BCF1-499796448928}"/>
              </a:ext>
            </a:extLst>
          </p:cNvPr>
          <p:cNvSpPr txBox="1"/>
          <p:nvPr/>
        </p:nvSpPr>
        <p:spPr>
          <a:xfrm>
            <a:off x="5372272" y="4990441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30%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1B4F0695-58F3-D044-A0D2-25DD259C0C0B}"/>
              </a:ext>
            </a:extLst>
          </p:cNvPr>
          <p:cNvSpPr txBox="1"/>
          <p:nvPr/>
        </p:nvSpPr>
        <p:spPr>
          <a:xfrm>
            <a:off x="4356567" y="1892442"/>
            <a:ext cx="14236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latin typeface="Arial Black" panose="020B0604020202020204" pitchFamily="34" charset="0"/>
                <a:cs typeface="Arial Black" panose="020B0604020202020204" pitchFamily="34" charset="0"/>
              </a:rPr>
              <a:t>30%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E05EB394-A85A-DB48-A697-E55390CC0658}"/>
              </a:ext>
            </a:extLst>
          </p:cNvPr>
          <p:cNvGrpSpPr/>
          <p:nvPr/>
        </p:nvGrpSpPr>
        <p:grpSpPr>
          <a:xfrm>
            <a:off x="4672397" y="4664083"/>
            <a:ext cx="2101008" cy="1982380"/>
            <a:chOff x="206805" y="1025177"/>
            <a:chExt cx="2101008" cy="1982380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7FAA2740-64D4-214B-910A-64C466B0A313}"/>
                </a:ext>
              </a:extLst>
            </p:cNvPr>
            <p:cNvSpPr/>
            <p:nvPr/>
          </p:nvSpPr>
          <p:spPr>
            <a:xfrm>
              <a:off x="325433" y="1025177"/>
              <a:ext cx="1982380" cy="1982380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600"/>
            </a:p>
          </p:txBody>
        </p:sp>
        <p:sp>
          <p:nvSpPr>
            <p:cNvPr id="24" name="Pladsholder til indhold 2">
              <a:extLst>
                <a:ext uri="{FF2B5EF4-FFF2-40B4-BE49-F238E27FC236}">
                  <a16:creationId xmlns:a16="http://schemas.microsoft.com/office/drawing/2014/main" id="{B3B13EA0-6493-3F4C-BB7A-277F2CA23D78}"/>
                </a:ext>
              </a:extLst>
            </p:cNvPr>
            <p:cNvSpPr txBox="1">
              <a:spLocks/>
            </p:cNvSpPr>
            <p:nvPr/>
          </p:nvSpPr>
          <p:spPr>
            <a:xfrm>
              <a:off x="206805" y="1411018"/>
              <a:ext cx="2079946" cy="1020485"/>
            </a:xfrm>
            <a:prstGeom prst="rect">
              <a:avLst/>
            </a:prstGeom>
            <a:ln w="28575">
              <a:noFill/>
            </a:ln>
          </p:spPr>
          <p:txBody>
            <a:bodyPr vert="horz" lIns="0" tIns="0" rIns="0" bIns="0" rtlCol="0">
              <a:noAutofit/>
            </a:bodyPr>
            <a:lstStyle>
              <a:lvl1pPr marL="18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180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1588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28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83000"/>
                </a:lnSpc>
                <a:spcBef>
                  <a:spcPts val="0"/>
                </a:spcBef>
                <a:buFont typeface="Arial" panose="020B0604020202020204" pitchFamily="34" charset="0"/>
                <a:buChar char="​"/>
                <a:tabLst/>
                <a:defRPr sz="52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42900" indent="-3429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+mj-lt"/>
                <a:buAutoNum type="arabicPeriod"/>
                <a:tabLst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000" lvl="1" indent="0" algn="ctr">
                <a:buNone/>
              </a:pPr>
              <a:endParaRPr lang="da-DK" sz="1600" b="1">
                <a:solidFill>
                  <a:schemeClr val="bg1"/>
                </a:solidFill>
              </a:endParaRPr>
            </a:p>
            <a:p>
              <a:pPr marL="180000" lvl="1" indent="0" algn="ctr">
                <a:buNone/>
              </a:pPr>
              <a:r>
                <a:rPr lang="da-DK" sz="1600" b="1">
                  <a:solidFill>
                    <a:schemeClr val="bg1"/>
                  </a:solidFill>
                </a:rPr>
                <a:t>De sidste 30% </a:t>
              </a:r>
              <a:br>
                <a:rPr lang="da-DK" sz="1600" b="1">
                  <a:solidFill>
                    <a:schemeClr val="bg1"/>
                  </a:solidFill>
                </a:rPr>
              </a:br>
              <a:r>
                <a:rPr lang="da-DK" sz="1600" b="1">
                  <a:solidFill>
                    <a:schemeClr val="bg1"/>
                  </a:solidFill>
                </a:rPr>
                <a:t>kræver fangst af CO</a:t>
              </a:r>
              <a:r>
                <a:rPr lang="da-DK" sz="1600" b="1" baseline="-25000">
                  <a:solidFill>
                    <a:schemeClr val="bg1"/>
                  </a:solidFill>
                </a:rPr>
                <a:t>2</a:t>
              </a:r>
              <a:endParaRPr lang="da-DK" sz="1800" b="1" baseline="-25000">
                <a:solidFill>
                  <a:schemeClr val="bg1"/>
                </a:solidFill>
              </a:endParaRPr>
            </a:p>
          </p:txBody>
        </p:sp>
      </p:grpSp>
      <p:pic>
        <p:nvPicPr>
          <p:cNvPr id="27" name="Grafik 6" descr="Kolbe">
            <a:extLst>
              <a:ext uri="{FF2B5EF4-FFF2-40B4-BE49-F238E27FC236}">
                <a16:creationId xmlns:a16="http://schemas.microsoft.com/office/drawing/2014/main" id="{4FAFE3D8-C5C6-4427-8C1A-400BEDA51C9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17872" y="2088191"/>
            <a:ext cx="1860685" cy="1860685"/>
          </a:xfrm>
          <a:prstGeom prst="rect">
            <a:avLst/>
          </a:prstGeom>
        </p:spPr>
      </p:pic>
      <p:grpSp>
        <p:nvGrpSpPr>
          <p:cNvPr id="33" name="Gruppe 13">
            <a:extLst>
              <a:ext uri="{FF2B5EF4-FFF2-40B4-BE49-F238E27FC236}">
                <a16:creationId xmlns:a16="http://schemas.microsoft.com/office/drawing/2014/main" id="{B646A41A-0143-4A69-81F3-A2608E0BBC20}"/>
              </a:ext>
            </a:extLst>
          </p:cNvPr>
          <p:cNvGrpSpPr/>
          <p:nvPr/>
        </p:nvGrpSpPr>
        <p:grpSpPr>
          <a:xfrm>
            <a:off x="1992359" y="2686626"/>
            <a:ext cx="1153418" cy="1151074"/>
            <a:chOff x="1992359" y="3325516"/>
            <a:chExt cx="1153418" cy="1151074"/>
          </a:xfrm>
        </p:grpSpPr>
        <p:cxnSp>
          <p:nvCxnSpPr>
            <p:cNvPr id="36" name="Lige forbindelse 33">
              <a:extLst>
                <a:ext uri="{FF2B5EF4-FFF2-40B4-BE49-F238E27FC236}">
                  <a16:creationId xmlns:a16="http://schemas.microsoft.com/office/drawing/2014/main" id="{7839DF89-F198-457D-B7EC-97783E2F9AF7}"/>
                </a:ext>
              </a:extLst>
            </p:cNvPr>
            <p:cNvCxnSpPr>
              <a:cxnSpLocks/>
            </p:cNvCxnSpPr>
            <p:nvPr/>
          </p:nvCxnSpPr>
          <p:spPr>
            <a:xfrm>
              <a:off x="1992359" y="3325516"/>
              <a:ext cx="580932" cy="580932"/>
            </a:xfrm>
            <a:prstGeom prst="line">
              <a:avLst/>
            </a:prstGeom>
            <a:ln w="127000">
              <a:solidFill>
                <a:srgbClr val="82BA0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Lige forbindelse 34">
              <a:extLst>
                <a:ext uri="{FF2B5EF4-FFF2-40B4-BE49-F238E27FC236}">
                  <a16:creationId xmlns:a16="http://schemas.microsoft.com/office/drawing/2014/main" id="{02BD2DA8-53DC-46EE-8D15-5545ABFE95FE}"/>
                </a:ext>
              </a:extLst>
            </p:cNvPr>
            <p:cNvCxnSpPr>
              <a:cxnSpLocks/>
            </p:cNvCxnSpPr>
            <p:nvPr/>
          </p:nvCxnSpPr>
          <p:spPr>
            <a:xfrm>
              <a:off x="2647358" y="3965781"/>
              <a:ext cx="498419" cy="510809"/>
            </a:xfrm>
            <a:prstGeom prst="line">
              <a:avLst/>
            </a:prstGeom>
            <a:ln w="127000">
              <a:solidFill>
                <a:srgbClr val="82BA0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04DA6EF-5DA1-4902-98E6-02CFF87647C3}"/>
              </a:ext>
            </a:extLst>
          </p:cNvPr>
          <p:cNvSpPr txBox="1"/>
          <p:nvPr/>
        </p:nvSpPr>
        <p:spPr>
          <a:xfrm>
            <a:off x="2834883" y="2969623"/>
            <a:ext cx="1092742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en-US" sz="1600" dirty="0"/>
          </a:p>
        </p:txBody>
      </p:sp>
      <p:sp>
        <p:nvSpPr>
          <p:cNvPr id="39" name="Tekstfelt 18">
            <a:extLst>
              <a:ext uri="{FF2B5EF4-FFF2-40B4-BE49-F238E27FC236}">
                <a16:creationId xmlns:a16="http://schemas.microsoft.com/office/drawing/2014/main" id="{1DADCAFF-8760-48DF-BA34-7B0F4AF510C6}"/>
              </a:ext>
            </a:extLst>
          </p:cNvPr>
          <p:cNvSpPr txBox="1"/>
          <p:nvPr/>
        </p:nvSpPr>
        <p:spPr>
          <a:xfrm>
            <a:off x="1430290" y="3966661"/>
            <a:ext cx="228600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b="1" dirty="0">
                <a:solidFill>
                  <a:schemeClr val="tx2"/>
                </a:solidFill>
              </a:rPr>
              <a:t>Proces</a:t>
            </a:r>
            <a:endParaRPr lang="da-DK" sz="1600" dirty="0">
              <a:solidFill>
                <a:schemeClr val="tx2"/>
              </a:solidFill>
            </a:endParaRPr>
          </a:p>
        </p:txBody>
      </p:sp>
      <p:sp>
        <p:nvSpPr>
          <p:cNvPr id="40" name="Pladsholder til indhold 2">
            <a:extLst>
              <a:ext uri="{FF2B5EF4-FFF2-40B4-BE49-F238E27FC236}">
                <a16:creationId xmlns:a16="http://schemas.microsoft.com/office/drawing/2014/main" id="{43BB8178-EA4F-4A52-A0C6-588967BFE1D3}"/>
              </a:ext>
            </a:extLst>
          </p:cNvPr>
          <p:cNvSpPr txBox="1">
            <a:spLocks/>
          </p:cNvSpPr>
          <p:nvPr/>
        </p:nvSpPr>
        <p:spPr>
          <a:xfrm>
            <a:off x="1210491" y="4375784"/>
            <a:ext cx="2712502" cy="10565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15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28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83000"/>
              </a:lnSpc>
              <a:spcBef>
                <a:spcPts val="0"/>
              </a:spcBef>
              <a:buFont typeface="Arial" panose="020B0604020202020204" pitchFamily="34" charset="0"/>
              <a:buChar char="​"/>
              <a:tabLst/>
              <a:defRPr sz="5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900" indent="-3429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0" algn="ctr">
              <a:buNone/>
            </a:pPr>
            <a:r>
              <a:rPr lang="da-DK" sz="1600" dirty="0">
                <a:solidFill>
                  <a:schemeClr val="tx2"/>
                </a:solidFill>
              </a:rPr>
              <a:t>Fortsat udvikling af ny cementtyper reducerer CO</a:t>
            </a:r>
            <a:r>
              <a:rPr lang="da-DK" sz="1600" baseline="-25000" dirty="0">
                <a:solidFill>
                  <a:schemeClr val="tx2"/>
                </a:solidFill>
              </a:rPr>
              <a:t>2</a:t>
            </a:r>
            <a:r>
              <a:rPr lang="da-DK" sz="1600" dirty="0">
                <a:solidFill>
                  <a:schemeClr val="tx2"/>
                </a:solidFill>
              </a:rPr>
              <a:t>-udledningen med yderligere 30%</a:t>
            </a:r>
          </a:p>
        </p:txBody>
      </p:sp>
      <p:sp>
        <p:nvSpPr>
          <p:cNvPr id="29" name="Titel 1">
            <a:extLst>
              <a:ext uri="{FF2B5EF4-FFF2-40B4-BE49-F238E27FC236}">
                <a16:creationId xmlns:a16="http://schemas.microsoft.com/office/drawing/2014/main" id="{63AFD606-0D24-457B-A920-ABB410B30F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351292"/>
            <a:ext cx="11472862" cy="765537"/>
          </a:xfrm>
        </p:spPr>
        <p:txBody>
          <a:bodyPr/>
          <a:lstStyle/>
          <a:p>
            <a:r>
              <a:rPr lang="da-DK" dirty="0"/>
              <a:t>Vejen mod CO</a:t>
            </a:r>
            <a:r>
              <a:rPr lang="da-DK" baseline="-25000" dirty="0"/>
              <a:t>2</a:t>
            </a:r>
            <a:r>
              <a:rPr lang="da-DK" dirty="0"/>
              <a:t>-neutralitet</a:t>
            </a:r>
          </a:p>
        </p:txBody>
      </p:sp>
    </p:spTree>
    <p:extLst>
      <p:ext uri="{BB962C8B-B14F-4D97-AF65-F5344CB8AC3E}">
        <p14:creationId xmlns:p14="http://schemas.microsoft.com/office/powerpoint/2010/main" val="2429918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" dur="2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>
        <p:bldAsOne/>
      </p:bldGraphic>
      <p:bldGraphic spid="25" grpId="0">
        <p:bldAsOne/>
      </p:bldGraphic>
      <p:bldP spid="17" grpId="0"/>
      <p:bldP spid="3" grpId="0" build="p"/>
      <p:bldP spid="22" grpId="0"/>
      <p:bldP spid="30" grpId="0"/>
      <p:bldP spid="4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O</a:t>
            </a:r>
            <a:r>
              <a:rPr lang="da-DK" baseline="-25000" dirty="0"/>
              <a:t>2</a:t>
            </a:r>
            <a:r>
              <a:rPr lang="da-DK" dirty="0"/>
              <a:t>-fangst i cementproduktionen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5235636" y="817697"/>
            <a:ext cx="5699704" cy="2815784"/>
            <a:chOff x="4092636" y="817697"/>
            <a:chExt cx="5699704" cy="2815784"/>
          </a:xfrm>
        </p:grpSpPr>
        <p:grpSp>
          <p:nvGrpSpPr>
            <p:cNvPr id="17" name="Group 16"/>
            <p:cNvGrpSpPr/>
            <p:nvPr/>
          </p:nvGrpSpPr>
          <p:grpSpPr>
            <a:xfrm>
              <a:off x="4092636" y="817697"/>
              <a:ext cx="5699704" cy="2815784"/>
              <a:chOff x="4092636" y="826410"/>
              <a:chExt cx="5699704" cy="2815784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4092636" y="826410"/>
                <a:ext cx="5699704" cy="2815784"/>
                <a:chOff x="4092636" y="826410"/>
                <a:chExt cx="5699704" cy="2815784"/>
              </a:xfrm>
            </p:grpSpPr>
            <p:grpSp>
              <p:nvGrpSpPr>
                <p:cNvPr id="8" name="Group 7"/>
                <p:cNvGrpSpPr/>
                <p:nvPr/>
              </p:nvGrpSpPr>
              <p:grpSpPr>
                <a:xfrm>
                  <a:off x="4092636" y="826410"/>
                  <a:ext cx="5699704" cy="2815784"/>
                  <a:chOff x="4092636" y="826410"/>
                  <a:chExt cx="5699704" cy="2815784"/>
                </a:xfrm>
              </p:grpSpPr>
              <p:grpSp>
                <p:nvGrpSpPr>
                  <p:cNvPr id="7" name="Group 6"/>
                  <p:cNvGrpSpPr/>
                  <p:nvPr/>
                </p:nvGrpSpPr>
                <p:grpSpPr>
                  <a:xfrm>
                    <a:off x="4092636" y="826410"/>
                    <a:ext cx="5699704" cy="2815784"/>
                    <a:chOff x="4092636" y="826410"/>
                    <a:chExt cx="5699704" cy="2815784"/>
                  </a:xfrm>
                </p:grpSpPr>
                <p:grpSp>
                  <p:nvGrpSpPr>
                    <p:cNvPr id="6" name="Group 5"/>
                    <p:cNvGrpSpPr/>
                    <p:nvPr/>
                  </p:nvGrpSpPr>
                  <p:grpSpPr>
                    <a:xfrm>
                      <a:off x="4092636" y="826410"/>
                      <a:ext cx="5699704" cy="2815784"/>
                      <a:chOff x="4092636" y="826410"/>
                      <a:chExt cx="5699704" cy="2815784"/>
                    </a:xfrm>
                  </p:grpSpPr>
                  <p:pic>
                    <p:nvPicPr>
                      <p:cNvPr id="2052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" cstate="screen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92636" y="895128"/>
                        <a:ext cx="5612635" cy="22709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5" name="Rectangle 4"/>
                      <p:cNvSpPr/>
                      <p:nvPr/>
                    </p:nvSpPr>
                    <p:spPr>
                      <a:xfrm>
                        <a:off x="5826034" y="834168"/>
                        <a:ext cx="2647406" cy="95979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solidFill>
                          <a:schemeClr val="bg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a-DK"/>
                      </a:p>
                    </p:txBody>
                  </p:sp>
                  <p:sp>
                    <p:nvSpPr>
                      <p:cNvPr id="10" name="Rectangle 9"/>
                      <p:cNvSpPr/>
                      <p:nvPr/>
                    </p:nvSpPr>
                    <p:spPr>
                      <a:xfrm>
                        <a:off x="4885508" y="2682396"/>
                        <a:ext cx="2647406" cy="95979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solidFill>
                          <a:schemeClr val="bg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a-DK" dirty="0"/>
                      </a:p>
                    </p:txBody>
                  </p:sp>
                  <p:sp>
                    <p:nvSpPr>
                      <p:cNvPr id="11" name="Rectangle 10"/>
                      <p:cNvSpPr/>
                      <p:nvPr/>
                    </p:nvSpPr>
                    <p:spPr>
                      <a:xfrm>
                        <a:off x="8177349" y="2389192"/>
                        <a:ext cx="679268" cy="95979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solidFill>
                          <a:schemeClr val="bg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a-DK"/>
                      </a:p>
                    </p:txBody>
                  </p:sp>
                  <p:sp>
                    <p:nvSpPr>
                      <p:cNvPr id="12" name="Rectangle 11"/>
                      <p:cNvSpPr/>
                      <p:nvPr/>
                    </p:nvSpPr>
                    <p:spPr>
                      <a:xfrm rot="18546413">
                        <a:off x="9397852" y="823104"/>
                        <a:ext cx="125395" cy="1320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solidFill>
                          <a:schemeClr val="bg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a-DK"/>
                      </a:p>
                    </p:txBody>
                  </p:sp>
                  <p:sp>
                    <p:nvSpPr>
                      <p:cNvPr id="13" name="Rectangle 12"/>
                      <p:cNvSpPr/>
                      <p:nvPr/>
                    </p:nvSpPr>
                    <p:spPr>
                      <a:xfrm rot="18546413">
                        <a:off x="9612814" y="1114534"/>
                        <a:ext cx="125395" cy="13200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solidFill>
                          <a:schemeClr val="bg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da-DK" dirty="0"/>
                          <a:t>1</a:t>
                        </a:r>
                      </a:p>
                    </p:txBody>
                  </p:sp>
                  <p:sp>
                    <p:nvSpPr>
                      <p:cNvPr id="14" name="Rectangle 13"/>
                      <p:cNvSpPr/>
                      <p:nvPr/>
                    </p:nvSpPr>
                    <p:spPr>
                      <a:xfrm rot="18546413">
                        <a:off x="9542124" y="818508"/>
                        <a:ext cx="211521" cy="288910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solidFill>
                          <a:schemeClr val="bg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da-DK"/>
                      </a:p>
                    </p:txBody>
                  </p:sp>
                </p:grpSp>
                <p:sp>
                  <p:nvSpPr>
                    <p:cNvPr id="16" name="Rectangle 15"/>
                    <p:cNvSpPr/>
                    <p:nvPr/>
                  </p:nvSpPr>
                  <p:spPr>
                    <a:xfrm>
                      <a:off x="6208670" y="1516986"/>
                      <a:ext cx="582747" cy="350822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solidFill>
                        <a:schemeClr val="bg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da-DK"/>
                    </a:p>
                  </p:txBody>
                </p:sp>
              </p:grpSp>
              <p:sp>
                <p:nvSpPr>
                  <p:cNvPr id="18" name="Rectangle 17"/>
                  <p:cNvSpPr/>
                  <p:nvPr/>
                </p:nvSpPr>
                <p:spPr>
                  <a:xfrm>
                    <a:off x="7096469" y="2237173"/>
                    <a:ext cx="218731" cy="84887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9" name="Rectangle 18"/>
                  <p:cNvSpPr/>
                  <p:nvPr/>
                </p:nvSpPr>
                <p:spPr>
                  <a:xfrm flipV="1">
                    <a:off x="7096468" y="2564576"/>
                    <a:ext cx="218731" cy="207936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grpSp>
              <p:nvGrpSpPr>
                <p:cNvPr id="9" name="Group 8"/>
                <p:cNvGrpSpPr/>
                <p:nvPr/>
              </p:nvGrpSpPr>
              <p:grpSpPr>
                <a:xfrm>
                  <a:off x="7253709" y="2210939"/>
                  <a:ext cx="382698" cy="472994"/>
                  <a:chOff x="7253709" y="2210939"/>
                  <a:chExt cx="382698" cy="472994"/>
                </a:xfrm>
              </p:grpSpPr>
              <p:sp>
                <p:nvSpPr>
                  <p:cNvPr id="21" name="Rectangle 20"/>
                  <p:cNvSpPr/>
                  <p:nvPr/>
                </p:nvSpPr>
                <p:spPr>
                  <a:xfrm rot="13570743" flipV="1">
                    <a:off x="7373161" y="2286548"/>
                    <a:ext cx="218731" cy="6751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22" name="Rectangle 21"/>
                  <p:cNvSpPr/>
                  <p:nvPr/>
                </p:nvSpPr>
                <p:spPr>
                  <a:xfrm rot="19072182" flipV="1">
                    <a:off x="7253709" y="2577724"/>
                    <a:ext cx="382698" cy="106209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a-DK"/>
                  </a:p>
                </p:txBody>
              </p:sp>
            </p:grpSp>
            <p:sp>
              <p:nvSpPr>
                <p:cNvPr id="26" name="Rectangle 25"/>
                <p:cNvSpPr/>
                <p:nvPr/>
              </p:nvSpPr>
              <p:spPr>
                <a:xfrm flipV="1">
                  <a:off x="7737219" y="2685049"/>
                  <a:ext cx="440129" cy="18404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27" name="Rectangle 26"/>
                <p:cNvSpPr/>
                <p:nvPr/>
              </p:nvSpPr>
              <p:spPr>
                <a:xfrm rot="16200000" flipV="1">
                  <a:off x="7728340" y="1690776"/>
                  <a:ext cx="440129" cy="920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28" name="Rectangle 27"/>
                <p:cNvSpPr/>
                <p:nvPr/>
              </p:nvSpPr>
              <p:spPr>
                <a:xfrm rot="13709629" flipV="1">
                  <a:off x="7824532" y="1816185"/>
                  <a:ext cx="440129" cy="45719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29" name="Rectangle 28"/>
                <p:cNvSpPr/>
                <p:nvPr/>
              </p:nvSpPr>
              <p:spPr>
                <a:xfrm rot="18887867" flipV="1">
                  <a:off x="7977260" y="2227437"/>
                  <a:ext cx="301617" cy="6422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30" name="Rectangle 29"/>
                <p:cNvSpPr/>
                <p:nvPr/>
              </p:nvSpPr>
              <p:spPr>
                <a:xfrm rot="169440">
                  <a:off x="7479025" y="2229895"/>
                  <a:ext cx="358642" cy="1333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32" name="Rectangle 31"/>
              <p:cNvSpPr/>
              <p:nvPr/>
            </p:nvSpPr>
            <p:spPr>
              <a:xfrm rot="2756200" flipV="1">
                <a:off x="5337152" y="2668646"/>
                <a:ext cx="382698" cy="24248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20" name="TextBox 19"/>
            <p:cNvSpPr txBox="1"/>
            <p:nvPr/>
          </p:nvSpPr>
          <p:spPr>
            <a:xfrm>
              <a:off x="6343234" y="3024128"/>
              <a:ext cx="184858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 dirty="0">
                  <a:solidFill>
                    <a:schemeClr val="tx2"/>
                  </a:solidFill>
                </a:rPr>
                <a:t>Post-combustion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044440" y="3824614"/>
            <a:ext cx="5995031" cy="2231284"/>
            <a:chOff x="3901439" y="3824614"/>
            <a:chExt cx="5995031" cy="2231284"/>
          </a:xfrm>
        </p:grpSpPr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1439" y="3824614"/>
              <a:ext cx="5995031" cy="1777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6902656" y="5717344"/>
              <a:ext cx="93807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 dirty="0">
                  <a:solidFill>
                    <a:schemeClr val="tx2"/>
                  </a:solidFill>
                </a:rPr>
                <a:t>Oxyfuel</a:t>
              </a:r>
            </a:p>
          </p:txBody>
        </p:sp>
      </p:grpSp>
      <p:pic>
        <p:nvPicPr>
          <p:cNvPr id="3" name="Picture 2" descr="A table topped with lots of green grass&#10;&#10;Description automatically generated">
            <a:extLst>
              <a:ext uri="{FF2B5EF4-FFF2-40B4-BE49-F238E27FC236}">
                <a16:creationId xmlns:a16="http://schemas.microsoft.com/office/drawing/2014/main" id="{5FF4ED1A-B572-42D5-BAA9-4388C55384C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0" r="3088"/>
          <a:stretch/>
        </p:blipFill>
        <p:spPr>
          <a:xfrm>
            <a:off x="97141" y="1650379"/>
            <a:ext cx="4906012" cy="360301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8009A50-87E2-4A83-852E-608764CA64B4}"/>
              </a:ext>
            </a:extLst>
          </p:cNvPr>
          <p:cNvSpPr txBox="1"/>
          <p:nvPr/>
        </p:nvSpPr>
        <p:spPr>
          <a:xfrm>
            <a:off x="97141" y="5871232"/>
            <a:ext cx="430040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GB" sz="1200">
                <a:solidFill>
                  <a:schemeClr val="tx2"/>
                </a:solidFill>
              </a:rPr>
              <a:t>Illustrations from ECRA, European Cement Research Academy</a:t>
            </a:r>
          </a:p>
        </p:txBody>
      </p:sp>
    </p:spTree>
    <p:extLst>
      <p:ext uri="{BB962C8B-B14F-4D97-AF65-F5344CB8AC3E}">
        <p14:creationId xmlns:p14="http://schemas.microsoft.com/office/powerpoint/2010/main" val="58138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NPs_tLzhgQA_bHVQKgP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bpAthqFviKH.1JJS.0o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Kj1MFJFaWiQgtzLDVJ7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GOyv0wIAglVpmW8z1WV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56E22KxLG0iOJMOCdt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AaVg4hTcavKTjLlJhz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56E22KxLG0iOJMOCdt2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PS68uEfIWFAMwy9l5q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bpAthqFviKH.1JJS.0o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GOyv0wIAglVpmW8z1WV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deR7LoWeTzTQ8buLv1J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od3oeKLKgue7EL8eBRi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fx1Ya1iHaDsORYcyQ_M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Xam2ppwKyo5QF0Sd7w3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deR7LoWeTzTQ8buLv1J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yJOpDh_8DU9EhgsCUfn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WrfgR8b_mke.e00MLeJ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AaVg4hTcavKTjLlJhz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s3bR4DA9hPi3yHV8.Lr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od3oeKLKgue7EL8eBRi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3Ac_SKewrH5NKgE..YJ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Ec9uEtYPnwNKb6aSECP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0o2o1gAZQyoe3ejLvxU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fs5kkXF0dHIxQ5LmBSc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r2hJ8W8AePza8XeyJwX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UMbWGKM62Uf.RJFfate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ZzJN2evo8g.CzFYzrOf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NPs_tLzhgQA_bHVQKgP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Kj1MFJFaWiQgtzLDVJ7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56E22KxLG0iOJMOCdt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fx1Ya1iHaDsORYcyQ_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Xam2ppwKyo5QF0Sd7w3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56E22KxLG0iOJMOCdt2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yJOpDh_8DU9EhgsCUf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WrfgR8b_mke.e00MLeJ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s3bR4DA9hPi3yHV8.L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3Ac_SKewrH5NKgE..YJ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Ec9uEtYPnwNKb6aSEC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0o2o1gAZQyoe3ejLvxU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PS68uEfIWFAMwy9l5q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fs5kkXF0dHIxQ5LmBSc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r2hJ8W8AePza8XeyJwX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UMbWGKM62Uf.RJFfate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ZzJN2evo8g.CzFYzrOfQ"/>
</p:tagLst>
</file>

<file path=ppt/theme/theme1.xml><?xml version="1.0" encoding="utf-8"?>
<a:theme xmlns:a="http://schemas.openxmlformats.org/drawingml/2006/main" name="Cementir Holding">
  <a:themeElements>
    <a:clrScheme name="Cementir">
      <a:dk1>
        <a:srgbClr val="5A616C"/>
      </a:dk1>
      <a:lt1>
        <a:srgbClr val="FFFFFF"/>
      </a:lt1>
      <a:dk2>
        <a:srgbClr val="000000"/>
      </a:dk2>
      <a:lt2>
        <a:srgbClr val="E7E7E8"/>
      </a:lt2>
      <a:accent1>
        <a:srgbClr val="A30046"/>
      </a:accent1>
      <a:accent2>
        <a:srgbClr val="627070"/>
      </a:accent2>
      <a:accent3>
        <a:srgbClr val="F47920"/>
      </a:accent3>
      <a:accent4>
        <a:srgbClr val="88746A"/>
      </a:accent4>
      <a:accent5>
        <a:srgbClr val="C71D22"/>
      </a:accent5>
      <a:accent6>
        <a:srgbClr val="A1A1A5"/>
      </a:accent6>
      <a:hlink>
        <a:srgbClr val="5A616C"/>
      </a:hlink>
      <a:folHlink>
        <a:srgbClr val="88746A"/>
      </a:folHlink>
    </a:clrScheme>
    <a:fontScheme name="Cementi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6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Cementir Holding.potx" id="{01279C96-D5C5-4305-A6EB-BD895B83E477}" vid="{4B02774A-4F64-44F0-B086-EE959DF62E84}"/>
    </a:ext>
  </a:extLst>
</a:theme>
</file>

<file path=ppt/theme/theme2.xml><?xml version="1.0" encoding="utf-8"?>
<a:theme xmlns:a="http://schemas.openxmlformats.org/drawingml/2006/main" name="1_Cementir Holding">
  <a:themeElements>
    <a:clrScheme name="Cementir">
      <a:dk1>
        <a:srgbClr val="5A616C"/>
      </a:dk1>
      <a:lt1>
        <a:srgbClr val="FFFFFF"/>
      </a:lt1>
      <a:dk2>
        <a:srgbClr val="000000"/>
      </a:dk2>
      <a:lt2>
        <a:srgbClr val="E7E7E8"/>
      </a:lt2>
      <a:accent1>
        <a:srgbClr val="A30046"/>
      </a:accent1>
      <a:accent2>
        <a:srgbClr val="627070"/>
      </a:accent2>
      <a:accent3>
        <a:srgbClr val="F47920"/>
      </a:accent3>
      <a:accent4>
        <a:srgbClr val="88746A"/>
      </a:accent4>
      <a:accent5>
        <a:srgbClr val="C71D22"/>
      </a:accent5>
      <a:accent6>
        <a:srgbClr val="A1A1A5"/>
      </a:accent6>
      <a:hlink>
        <a:srgbClr val="5A616C"/>
      </a:hlink>
      <a:folHlink>
        <a:srgbClr val="88746A"/>
      </a:folHlink>
    </a:clrScheme>
    <a:fontScheme name="Cementi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16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Cementir Holding.potx" id="{01279C96-D5C5-4305-A6EB-BD895B83E477}" vid="{4B02774A-4F64-44F0-B086-EE959DF62E84}"/>
    </a:ext>
  </a:extLst>
</a:theme>
</file>

<file path=ppt/theme/theme3.xml><?xml version="1.0" encoding="utf-8"?>
<a:theme xmlns:a="http://schemas.openxmlformats.org/drawingml/2006/main" name="DI Grid 16:9">
  <a:themeElements>
    <a:clrScheme name="Custom 1">
      <a:dk1>
        <a:srgbClr val="808285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DI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66656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1_DI Grid 16:9">
  <a:themeElements>
    <a:clrScheme name="Custom 1">
      <a:dk1>
        <a:srgbClr val="808285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DI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666565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F90FC90BB7BFB44BE44FFD3800E4C30" ma:contentTypeVersion="3" ma:contentTypeDescription="Opret et nyt dokument." ma:contentTypeScope="" ma:versionID="fb0657d76e80c65cdc2a34023efe0d9c">
  <xsd:schema xmlns:xsd="http://www.w3.org/2001/XMLSchema" xmlns:xs="http://www.w3.org/2001/XMLSchema" xmlns:p="http://schemas.microsoft.com/office/2006/metadata/properties" xmlns:ns2="13886c1b-f4a5-4a74-b945-e97f5516d92d" targetNamespace="http://schemas.microsoft.com/office/2006/metadata/properties" ma:root="true" ma:fieldsID="62e259dcfce4b47a67e9893f6e06be9d" ns2:_="">
    <xsd:import namespace="13886c1b-f4a5-4a74-b945-e97f5516d9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886c1b-f4a5-4a74-b945-e97f5516d9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CD88334-795F-4BE9-AF91-5FDBDDA4FCDC}"/>
</file>

<file path=customXml/itemProps2.xml><?xml version="1.0" encoding="utf-8"?>
<ds:datastoreItem xmlns:ds="http://schemas.openxmlformats.org/officeDocument/2006/customXml" ds:itemID="{3FF37678-A143-492F-B6D4-C93DA9B0ABE9}"/>
</file>

<file path=customXml/itemProps3.xml><?xml version="1.0" encoding="utf-8"?>
<ds:datastoreItem xmlns:ds="http://schemas.openxmlformats.org/officeDocument/2006/customXml" ds:itemID="{77F76CB1-1811-41ED-AED8-6342A6164827}"/>
</file>

<file path=docProps/app.xml><?xml version="1.0" encoding="utf-8"?>
<Properties xmlns="http://schemas.openxmlformats.org/officeDocument/2006/extended-properties" xmlns:vt="http://schemas.openxmlformats.org/officeDocument/2006/docPropsVTypes">
  <Template>Cementir Holding</Template>
  <TotalTime>0</TotalTime>
  <Words>777</Words>
  <Application>Microsoft Office PowerPoint</Application>
  <PresentationFormat>Widescreen</PresentationFormat>
  <Paragraphs>165</Paragraphs>
  <Slides>1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rial</vt:lpstr>
      <vt:lpstr>Arial Black</vt:lpstr>
      <vt:lpstr>Calibri</vt:lpstr>
      <vt:lpstr>Calibri Light</vt:lpstr>
      <vt:lpstr>Georgia</vt:lpstr>
      <vt:lpstr>Tahoma</vt:lpstr>
      <vt:lpstr>Times New Roman</vt:lpstr>
      <vt:lpstr>Trebuchet MS</vt:lpstr>
      <vt:lpstr>Wingdings</vt:lpstr>
      <vt:lpstr>Cementir Holding</vt:lpstr>
      <vt:lpstr>1_Cementir Holding</vt:lpstr>
      <vt:lpstr>DI Grid 16:9</vt:lpstr>
      <vt:lpstr>1_DI Grid 16:9</vt:lpstr>
      <vt:lpstr>Office Theme</vt:lpstr>
      <vt:lpstr>think-cell Slide</vt:lpstr>
      <vt:lpstr>CO2-fangst hos Aalborg Portland</vt:lpstr>
      <vt:lpstr>PowerPoint Presentation</vt:lpstr>
      <vt:lpstr>Forbruget af cement er steget kraftigt på verdensplan. </vt:lpstr>
      <vt:lpstr>Begrænsede muligheder for at bruge andre materialer</vt:lpstr>
      <vt:lpstr>CO2 og cement</vt:lpstr>
      <vt:lpstr>CO2-reduktion fra cementproduktionen</vt:lpstr>
      <vt:lpstr>30% CO2 reduktion i 2030 </vt:lpstr>
      <vt:lpstr>Vejen mod CO2-neutralitet</vt:lpstr>
      <vt:lpstr>CO2-fangst i cementproduktionen</vt:lpstr>
      <vt:lpstr>Anvendelse eller geologisk lagring</vt:lpstr>
      <vt:lpstr>CCUS tests eller fuldskalafaciliteter i den Europæiske cement industri</vt:lpstr>
      <vt:lpstr>Mulighederne i Aalborg</vt:lpstr>
      <vt:lpstr>PowerPoint Presentation</vt:lpstr>
      <vt:lpstr>PowerPoint Presentation</vt:lpstr>
      <vt:lpstr>CCUS i Aalborg: Kan der laves en bæredygtig forretningsmodel?</vt:lpstr>
      <vt:lpstr>Næste skridt</vt:lpstr>
      <vt:lpstr>Jesper Sand Damtoft Group Sustainability and R&amp;D Director Cementir Holding Research and Quality Centre Sølystvej 18 9220 Aalborg Ø Denmark Phone: +45 4018 1121 E-mail: jesper.damtoft@cementirholding.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01T13:47:09Z</dcterms:created>
  <dcterms:modified xsi:type="dcterms:W3CDTF">2021-03-03T13:3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EF90FC90BB7BFB44BE44FFD3800E4C30</vt:lpwstr>
  </property>
</Properties>
</file>